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ink/ink1.xml" ContentType="application/inkml+xml"/>
  <Override PartName="/ppt/tags/tag5.xml" ContentType="application/vnd.openxmlformats-officedocument.presentationml.tags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tags/tag6.xml" ContentType="application/vnd.openxmlformats-officedocument.presentationml.tags+xml"/>
  <Override PartName="/ppt/ink/ink14.xml" ContentType="application/inkml+xml"/>
  <Override PartName="/ppt/ink/ink15.xml" ContentType="application/inkml+xml"/>
  <Override PartName="/ppt/tags/tag7.xml" ContentType="application/vnd.openxmlformats-officedocument.presentationml.tags+xml"/>
  <Override PartName="/ppt/ink/ink16.xml" ContentType="application/inkml+xml"/>
  <Override PartName="/ppt/ink/ink17.xml" ContentType="application/inkml+xml"/>
  <Override PartName="/ppt/tags/tag8.xml" ContentType="application/vnd.openxmlformats-officedocument.presentationml.tags+xml"/>
  <Override PartName="/ppt/ink/ink18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78" r:id="rId1"/>
  </p:sldMasterIdLst>
  <p:notesMasterIdLst>
    <p:notesMasterId r:id="rId32"/>
  </p:notesMasterIdLst>
  <p:sldIdLst>
    <p:sldId id="256" r:id="rId2"/>
    <p:sldId id="275" r:id="rId3"/>
    <p:sldId id="276" r:id="rId4"/>
    <p:sldId id="293" r:id="rId5"/>
    <p:sldId id="294" r:id="rId6"/>
    <p:sldId id="292" r:id="rId7"/>
    <p:sldId id="279" r:id="rId8"/>
    <p:sldId id="295" r:id="rId9"/>
    <p:sldId id="297" r:id="rId10"/>
    <p:sldId id="277" r:id="rId11"/>
    <p:sldId id="296" r:id="rId12"/>
    <p:sldId id="280" r:id="rId13"/>
    <p:sldId id="282" r:id="rId14"/>
    <p:sldId id="283" r:id="rId15"/>
    <p:sldId id="285" r:id="rId16"/>
    <p:sldId id="299" r:id="rId17"/>
    <p:sldId id="286" r:id="rId18"/>
    <p:sldId id="284" r:id="rId19"/>
    <p:sldId id="287" r:id="rId20"/>
    <p:sldId id="302" r:id="rId21"/>
    <p:sldId id="303" r:id="rId22"/>
    <p:sldId id="288" r:id="rId23"/>
    <p:sldId id="300" r:id="rId24"/>
    <p:sldId id="289" r:id="rId25"/>
    <p:sldId id="290" r:id="rId26"/>
    <p:sldId id="301" r:id="rId27"/>
    <p:sldId id="291" r:id="rId28"/>
    <p:sldId id="305" r:id="rId29"/>
    <p:sldId id="304" r:id="rId30"/>
    <p:sldId id="298" r:id="rId31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14" y="11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42.63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1,"0"0,1 0,-1 1,0-1,1 0,0 0,-1 1,1-1,0 0,-1 0,1 0,0 0,0 0,0 0,0 0,0-1,0 1,0 0,1 0,-1-1,0 1,0-1,2 2,34 10,-32-11,49 11,-1-2,96 4,114-11,-143-4,2059-1,-1555-11,-46 0,113 1,88 0,1865 13,-1848 24,-87-1,-158-12,147 0,1047-13,-1693 5,-1 2,0 2,0 2,53 19,-71-20,153 40,-160-39,-25-10,0 0,0 1,-1-1,1 1,0 0,0-1,-1 1,1 0,0-1,-1 1,1 0,-1 0,1-1,-1 1,1 0,-1 0,0 0,1 0,-1 0,0 0,0 0,1-1,-1 1,0 0,0 0,0 1,-4 9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17.22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03,'1'-3,"-1"1,1 0,0-1,0 1,0 0,0 0,0 0,0 0,1 0,-1 0,1 0,-1 0,1 0,0 1,0-1,3-1,33-22,-22 17,0 2,0 0,1 1,0 0,0 2,1 0,18-1,131 3,-99 2,661 2,776 12,-465-6,-816-21,58 0,-256 12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22.60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02,'289'-23,"-140"8,1082-45,6 57,-792 5,1517 22,-1333 2,-53-2,-563-23,31-1,0 3,44 8,-40-4,74 0,-20-1,321 30,-396-34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4:22.48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55,'15'-1,"0"0,-1-1,23-7,-1 1,51-9,470-71,266 59,2 49,825 74,-517-23,-886-58,824 20,-1039-34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4:24.67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945'13,"-22"-1,2342-13,-3218 1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2:37.69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24,'16'-1,"0"0,-1-2,24-5,16-3,978-64,6 73,-471 6,-56-22,132 10,-369 10,-34-2,-219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32:34.76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3,'2780'0,"-2196"-25,-322 10,-43 1,212-5,-156 19,-255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24:51.55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5,'1879'-34,"-96"-6,-1607 53,5 0,-163-12,0 1,30 7,26 2,129 9,-179-18,-3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24:53.19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79,'0'-2,"1"0,-1 0,1 0,0 1,0-1,0 0,0 0,0 1,0-1,0 1,0-1,1 1,-1-1,1 1,-1 0,1 0,0 0,-1-1,1 2,0-1,0 0,3-1,45-15,10 7,0 1,0 4,0 2,62 5,-30-2,1834 57,-1172-25,-568-25,396-3,-381-4,227-37,-289 19,168 0,-286 18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15:33.60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883'38,"-764"-9,-780-23,1471 47,-1728-50,152 14,-209-12,-12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1.90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,'238'-2,"258"4,-304 10,88 1,595-14,-854 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3.73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5,'474'-12,"6"0,21 13,-480-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54.91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5,'0'-4,"4"-1,6 0,5 1,4 1,2 1,7 1,3 1,3 4,5 1,0 1,1-2,-1-1,-4-1,-8-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41.65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700'44,"-401"-18,131 9,452 31,6-42,-787-26,521-22,718-47,-1133 69,350 41,-430-27,-107-12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0:22:43.22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6122 219,'-899'-49,"295"8,-818 9,475-19,758 35,63 5,-138-7,-824 19,1048 0,-52 10,51-5,-55 1,69-7,0 1,0 1,-46 9,-70 14,126-2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02:33.86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629'12,"-245"-2,1057 30,-969-25,6 3,693 9,-1143-26,0 2,0 1,0 1,42 13,-23-4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5T01:02:35.06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6487 50,'-926'-15,"414"5,83 2,-1079-8,843 36,154 24,68-15,-73-22,296-10,-512 3,707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7-04T23:53:15.35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891'29,"-113"9,-729-36,893 3,-547-6,-240-12,-12 1,582 11,-350 3,-355-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3C257D-F3AE-4FB7-8A04-75A5F2C2E5F5}" type="datetimeFigureOut">
              <a:rPr lang="pt-BR" smtClean="0"/>
              <a:t>04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BD427-C6EA-4731-8E97-F41B1E06D6E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39020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684E61-0350-797E-001D-CA67D9346A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075F779-8668-7A5E-49C3-CEA9B60F81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26A52B9-FFEF-9058-F1A6-0F939CD5F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2A2D82E-3CA3-5198-7DBA-07A4F2001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BD832EF-960A-415E-394B-F26DD5F1E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92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E7A378D-BB8E-C046-96D9-E0364DF8E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434F0E0-1300-39D5-D0E2-5172CE95EE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CEEC0BA-5739-59D1-0421-E73672372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6206C11-82C3-6729-C433-0ECEE39FB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EAC774A-250D-E607-E8DD-AEB394BF3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389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B081EEF-A437-914F-2836-A6C4A1B3CA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051D00F-AC64-547C-2686-2A51080DB6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8AAE96F-6B88-5487-F02E-99C1BC67A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31B8587-F922-AA47-AC9B-FD16928A2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B6B88D3-0C60-19DA-F066-764010FC4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10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60F8546-3085-A373-61E0-AFB86DAB4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24161EE-16F4-CBC1-087C-3E82C288F6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6CA3619-B839-65C3-F7F2-65688D2A9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F469964-3209-F0C8-72BD-4548ED130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143C858-36E6-C06A-5850-D3443B622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612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068801-EB9F-49D3-F57F-93750D90A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E090829-8BDE-CE75-EEC2-3EBA813CA7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6E4E2D3-C0F3-AD97-E7C3-1E16B7EDA1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C00A4A8-2D95-E71F-C4A0-49C1C8350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46B008-619E-4CDF-FB22-C7730620E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0065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675720-D7A6-6ECF-8144-E8115A7C7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89A8966-18BE-922B-0B8F-80FCC3A6BD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784A7E8-5D63-6699-5894-240F203BD4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D8A0E86-B162-80BD-30A4-3B5C0F9D8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989FFAC-DE57-7B0E-FAF8-E917AD163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C384704-5E75-D879-4C6B-AA5620DB6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874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177C53-A05D-2654-01A9-0BA6B29AB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F0A0F15-3D2F-DDB0-17F9-197E2CD0F1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BCAE4A1-7738-EC15-85E7-651E47FFE9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A5CE458C-333D-1CB0-7AEE-03022A7351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F37DB0F-62FA-0A9F-0B77-E00696949E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55988FE-A494-ECBC-B183-625A378A8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7E5CE29-EE06-564F-D97B-46FF623BA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6F54B77-4360-761B-D594-CF2D39313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508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BCC2F8-B8BC-8E1E-60CC-F44AE8F96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D8D804E-C84F-5A1A-9063-AB54573B7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AA72C30-A0AF-4F4B-1F2C-0F9CA6359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056DDF5-A73E-2F9A-18C7-5E79AE352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132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D766E94-C8D2-4A83-403C-D470D8C133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23F018EF-FBEA-1443-E640-402E67FBB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B5CBB24-AD65-84D3-3374-177CB6B5F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5670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EB4479-ECFA-91A8-4B08-F2C7C7E491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CC7E802-DD20-5E5E-F369-281859F87F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5E9D3BC-4AB1-9C42-1366-82D80EC746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9A60B38-BCB3-335C-89D2-917CF8524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0F30276-BE36-4CC1-B83F-30BA2ADE8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BE1C2FD-05B8-E329-B5D0-0B50470BA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9592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8E6F67-BA5E-A25A-5F74-F5E85453D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3112E14-E4C4-D99D-01AD-9D37C69A67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FE27AA0-18B9-B265-B805-B1235BB679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1DCF7C2-8493-23AB-5431-243A52D123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A4091E4B-BCE6-D3A9-2543-E01FA4C14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F48068C-2E60-979D-C58D-E64FFBA4B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907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8A05AF28-1D47-A8ED-58C1-85208A6A15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5157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306" imgH="411" progId="TCLayout.ActiveDocument.1">
                  <p:embed/>
                </p:oleObj>
              </mc:Choice>
              <mc:Fallback>
                <p:oleObj name="Slide do think-cell" r:id="rId14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37D0B1E-E208-44A8-5C3D-F516416E3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29A4FE1-1E78-B7A2-2BBD-A70D591496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D160FB1-01AA-521D-F7CE-EBE95463CB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CB6AE6-B488-4024-90C7-43F6F5E2582E}" type="datetimeFigureOut">
              <a:rPr lang="en-US" smtClean="0"/>
              <a:t>7/4/2023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DF2E86C-0721-4C0B-8586-B4A23B38B6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ABF25F8-FF8E-9454-E7C1-6A5D1F378E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618620-8F61-4A10-97A7-B6AD64DC074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72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  <p:sldLayoutId id="21474840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customXml" Target="../ink/ink6.xml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ustomXml" Target="../ink/ink7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customXml" Target="../ink/ink8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ustomXml" Target="../ink/ink11.xml"/><Relationship Id="rId3" Type="http://schemas.openxmlformats.org/officeDocument/2006/relationships/customXml" Target="../ink/ink9.xml"/><Relationship Id="rId7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customXml" Target="../ink/ink10.xml"/><Relationship Id="rId4" Type="http://schemas.openxmlformats.org/officeDocument/2006/relationships/image" Target="../media/image23.png"/><Relationship Id="rId9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6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customXml" Target="../ink/ink13.xml"/><Relationship Id="rId5" Type="http://schemas.openxmlformats.org/officeDocument/2006/relationships/image" Target="../media/image35.png"/><Relationship Id="rId4" Type="http://schemas.openxmlformats.org/officeDocument/2006/relationships/customXml" Target="../ink/ink1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customXml" Target="../ink/ink14.xml"/><Relationship Id="rId5" Type="http://schemas.openxmlformats.org/officeDocument/2006/relationships/image" Target="../media/image37.png"/><Relationship Id="rId10" Type="http://schemas.openxmlformats.org/officeDocument/2006/relationships/image" Target="../media/image40.png"/><Relationship Id="rId4" Type="http://schemas.openxmlformats.org/officeDocument/2006/relationships/image" Target="../media/image1.emf"/><Relationship Id="rId9" Type="http://schemas.openxmlformats.org/officeDocument/2006/relationships/customXml" Target="../ink/ink1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oleObject" Target="../embeddings/oleObject6.bin"/><Relationship Id="rId7" Type="http://schemas.openxmlformats.org/officeDocument/2006/relationships/customXml" Target="../ink/ink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10" Type="http://schemas.openxmlformats.org/officeDocument/2006/relationships/image" Target="../media/image44.png"/><Relationship Id="rId4" Type="http://schemas.openxmlformats.org/officeDocument/2006/relationships/image" Target="../media/image1.emf"/><Relationship Id="rId9" Type="http://schemas.openxmlformats.org/officeDocument/2006/relationships/customXml" Target="../ink/ink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customXml" Target="../ink/ink18.xml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customXml" Target="../ink/ink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customXml" Target="../ink/ink2.x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11" Type="http://schemas.openxmlformats.org/officeDocument/2006/relationships/customXml" Target="../ink/ink4.xml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customXml" Target="../ink/ink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12191990" cy="455102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62CFF8F-2B88-6FA3-2F80-391C2603A0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5558" y="637762"/>
            <a:ext cx="9889797" cy="3574937"/>
          </a:xfrm>
        </p:spPr>
        <p:txBody>
          <a:bodyPr anchor="ctr">
            <a:normAutofit/>
          </a:bodyPr>
          <a:lstStyle/>
          <a:p>
            <a:pPr algn="l"/>
            <a:r>
              <a:rPr lang="pt-BR" sz="4600" dirty="0">
                <a:solidFill>
                  <a:schemeClr val="bg1"/>
                </a:solidFill>
              </a:rPr>
              <a:t>Análise de sentimento dos documentos do Banco Central utilizando</a:t>
            </a:r>
            <a:r>
              <a:rPr lang="en-US" sz="4600" dirty="0">
                <a:solidFill>
                  <a:schemeClr val="bg1"/>
                </a:solidFill>
              </a:rPr>
              <a:t> Natural Language Processing com Deep Learning in Python</a:t>
            </a:r>
            <a:endParaRPr lang="pt-BR" sz="460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551035"/>
            <a:ext cx="12191990" cy="23069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4719F96-8669-8AD4-B464-6496EB2D2B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55558" y="5126354"/>
            <a:ext cx="9544153" cy="1088177"/>
          </a:xfrm>
        </p:spPr>
        <p:txBody>
          <a:bodyPr anchor="t">
            <a:normAutofit/>
          </a:bodyPr>
          <a:lstStyle/>
          <a:p>
            <a:pPr algn="l"/>
            <a:r>
              <a:rPr lang="pt-BR" sz="3400"/>
              <a:t>Projeto de conclusão do </a:t>
            </a:r>
            <a:r>
              <a:rPr lang="pt-BR" sz="3400" i="1"/>
              <a:t>Programa Avançado em Data Science e Decisão</a:t>
            </a:r>
            <a:r>
              <a:rPr lang="pt-BR" sz="3400"/>
              <a:t> do </a:t>
            </a:r>
            <a:r>
              <a:rPr lang="pt-BR" sz="3400" b="1"/>
              <a:t>Insper</a:t>
            </a:r>
            <a:endParaRPr lang="en-US" sz="3400" b="1"/>
          </a:p>
          <a:p>
            <a:pPr algn="l"/>
            <a:endParaRPr lang="en-US" sz="3400"/>
          </a:p>
          <a:p>
            <a:pPr algn="l"/>
            <a:endParaRPr lang="en-US" sz="34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32F003-FCA6-4CFB-A2EA-308F3AA257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61180" y="4866503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087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ase de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0</a:t>
            </a:fld>
            <a:endParaRPr lang="en-US" dirty="0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8" cy="4881882"/>
          </a:xfrm>
        </p:spPr>
        <p:txBody>
          <a:bodyPr>
            <a:normAutofit/>
          </a:bodyPr>
          <a:lstStyle/>
          <a:p>
            <a:r>
              <a:rPr lang="pt-BR" dirty="0"/>
              <a:t>Foram analisados os </a:t>
            </a:r>
            <a:r>
              <a:rPr lang="pt-BR" b="1" dirty="0">
                <a:highlight>
                  <a:srgbClr val="C0C0C0"/>
                </a:highlight>
              </a:rPr>
              <a:t>comunicados</a:t>
            </a:r>
            <a:r>
              <a:rPr lang="pt-BR" dirty="0"/>
              <a:t> e as </a:t>
            </a:r>
            <a:r>
              <a:rPr lang="pt-BR" b="1" dirty="0">
                <a:highlight>
                  <a:srgbClr val="C0C0C0"/>
                </a:highlight>
              </a:rPr>
              <a:t>atas do Copom</a:t>
            </a:r>
          </a:p>
          <a:p>
            <a:endParaRPr lang="pt-BR" dirty="0"/>
          </a:p>
          <a:p>
            <a:r>
              <a:rPr lang="pt-BR" dirty="0"/>
              <a:t>Recorte adotado é o início do modelo de metas de inflação em </a:t>
            </a:r>
            <a:r>
              <a:rPr lang="pt-BR" b="1" dirty="0"/>
              <a:t>1999</a:t>
            </a:r>
            <a:r>
              <a:rPr lang="pt-BR" dirty="0"/>
              <a:t>.</a:t>
            </a:r>
          </a:p>
          <a:p>
            <a:endParaRPr lang="pt-BR" dirty="0"/>
          </a:p>
          <a:p>
            <a:r>
              <a:rPr lang="pt-BR" dirty="0"/>
              <a:t>Recentemente, o BC passou a publicar os documentos também em </a:t>
            </a:r>
            <a:r>
              <a:rPr lang="pt-BR" b="1" dirty="0"/>
              <a:t>inglês</a:t>
            </a:r>
            <a:r>
              <a:rPr lang="pt-BR" dirty="0"/>
              <a:t>, o que possibilita a </a:t>
            </a:r>
            <a:r>
              <a:rPr lang="pt-BR" b="1" dirty="0"/>
              <a:t>comparação</a:t>
            </a:r>
            <a:r>
              <a:rPr lang="pt-BR" dirty="0"/>
              <a:t> do desempenho dos modelos nas duas línguas.</a:t>
            </a:r>
          </a:p>
        </p:txBody>
      </p:sp>
    </p:spTree>
    <p:extLst>
      <p:ext uri="{BB962C8B-B14F-4D97-AF65-F5344CB8AC3E}">
        <p14:creationId xmlns:p14="http://schemas.microsoft.com/office/powerpoint/2010/main" val="28048007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Base de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AF8F3AD-5FC5-1F46-1505-2A71A5F94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18620-8F61-4A10-97A7-B6AD64DC074C}" type="slidenum">
              <a:rPr lang="en-US" smtClean="0"/>
              <a:t>11</a:t>
            </a:fld>
            <a:endParaRPr lang="en-US" dirty="0"/>
          </a:p>
        </p:txBody>
      </p:sp>
      <p:pic>
        <p:nvPicPr>
          <p:cNvPr id="12" name="Imagem 11" descr="Texto&#10;&#10;Descrição gerada automaticamente com confiança média">
            <a:extLst>
              <a:ext uri="{FF2B5EF4-FFF2-40B4-BE49-F238E27FC236}">
                <a16:creationId xmlns:a16="http://schemas.microsoft.com/office/drawing/2014/main" id="{75FD211B-B4DA-BDC2-985E-2F6221D437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93" y="0"/>
            <a:ext cx="8451607" cy="3614426"/>
          </a:xfrm>
          <a:prstGeom prst="rect">
            <a:avLst/>
          </a:prstGeom>
        </p:spPr>
      </p:pic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2" y="4110447"/>
            <a:ext cx="6699067" cy="2245904"/>
          </a:xfrm>
        </p:spPr>
        <p:txBody>
          <a:bodyPr>
            <a:normAutofit lnSpcReduction="10000"/>
          </a:bodyPr>
          <a:lstStyle/>
          <a:p>
            <a:r>
              <a:rPr lang="pt-BR" dirty="0"/>
              <a:t>A base de dados em português é composta por </a:t>
            </a:r>
            <a:r>
              <a:rPr lang="pt-BR" b="1" dirty="0"/>
              <a:t>209 comunicados </a:t>
            </a:r>
            <a:r>
              <a:rPr lang="pt-BR" dirty="0"/>
              <a:t>e </a:t>
            </a:r>
            <a:r>
              <a:rPr lang="pt-BR" b="1" dirty="0"/>
              <a:t>202 atas do Copom</a:t>
            </a:r>
            <a:r>
              <a:rPr lang="pt-BR" dirty="0"/>
              <a:t>.</a:t>
            </a:r>
          </a:p>
          <a:p>
            <a:pPr lvl="1"/>
            <a:endParaRPr lang="pt-BR" dirty="0"/>
          </a:p>
          <a:p>
            <a:r>
              <a:rPr lang="pt-BR" sz="2600" dirty="0"/>
              <a:t>A base em inglês é menor, com </a:t>
            </a:r>
            <a:r>
              <a:rPr lang="pt-BR" sz="2600" b="1" dirty="0"/>
              <a:t>140 comunicados </a:t>
            </a:r>
            <a:r>
              <a:rPr lang="pt-BR" sz="2600" dirty="0"/>
              <a:t>e </a:t>
            </a:r>
            <a:r>
              <a:rPr lang="pt-BR" sz="2600" b="1" dirty="0"/>
              <a:t>23 atas do Copom</a:t>
            </a:r>
            <a:r>
              <a:rPr lang="pt-BR" sz="2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55132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bel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2800" y="1332650"/>
            <a:ext cx="6631576" cy="4881882"/>
          </a:xfrm>
        </p:spPr>
        <p:txBody>
          <a:bodyPr>
            <a:normAutofit/>
          </a:bodyPr>
          <a:lstStyle/>
          <a:p>
            <a:r>
              <a:rPr lang="pt-BR" dirty="0"/>
              <a:t>Modelos </a:t>
            </a:r>
            <a:r>
              <a:rPr lang="pt-BR" b="1" dirty="0">
                <a:highlight>
                  <a:srgbClr val="C0C0C0"/>
                </a:highlight>
              </a:rPr>
              <a:t>classificar</a:t>
            </a:r>
            <a:r>
              <a:rPr lang="pt-BR" dirty="0"/>
              <a:t> os documentos em: </a:t>
            </a:r>
          </a:p>
          <a:p>
            <a:pPr lvl="1"/>
            <a:r>
              <a:rPr lang="pt-BR" b="1" dirty="0"/>
              <a:t>Hawkish</a:t>
            </a:r>
          </a:p>
          <a:p>
            <a:pPr lvl="1"/>
            <a:r>
              <a:rPr lang="pt-BR" b="1" dirty="0"/>
              <a:t>Dovish</a:t>
            </a:r>
          </a:p>
          <a:p>
            <a:pPr lvl="1"/>
            <a:r>
              <a:rPr lang="pt-BR" b="1" dirty="0"/>
              <a:t>Neutro</a:t>
            </a:r>
          </a:p>
          <a:p>
            <a:endParaRPr lang="pt-BR" b="1" dirty="0"/>
          </a:p>
          <a:p>
            <a:r>
              <a:rPr lang="pt-BR" dirty="0"/>
              <a:t>Classificação alternativa tenta </a:t>
            </a:r>
            <a:r>
              <a:rPr lang="pt-BR" sz="2900" dirty="0"/>
              <a:t>estimar qual será a </a:t>
            </a:r>
            <a:r>
              <a:rPr lang="pt-BR" sz="2900" b="1" dirty="0">
                <a:highlight>
                  <a:srgbClr val="C0C0C0"/>
                </a:highlight>
              </a:rPr>
              <a:t>próxima decisão </a:t>
            </a:r>
            <a:r>
              <a:rPr lang="pt-BR" sz="2900" dirty="0"/>
              <a:t>de juros do BC:</a:t>
            </a:r>
          </a:p>
          <a:p>
            <a:pPr lvl="1"/>
            <a:r>
              <a:rPr lang="pt-BR" sz="2500" b="1" dirty="0"/>
              <a:t>Elevar</a:t>
            </a:r>
          </a:p>
          <a:p>
            <a:pPr lvl="1"/>
            <a:r>
              <a:rPr lang="pt-BR" sz="2500" b="1" dirty="0"/>
              <a:t>Cortar</a:t>
            </a:r>
          </a:p>
          <a:p>
            <a:pPr lvl="1"/>
            <a:r>
              <a:rPr lang="pt-BR" sz="2500" b="1" dirty="0"/>
              <a:t>Manter</a:t>
            </a:r>
            <a:endParaRPr lang="pt-BR" sz="2500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6354323-6BC7-D263-9B9C-43D471D1F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2</a:t>
            </a:fld>
            <a:endParaRPr lang="en-US" dirty="0"/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861D6A7E-63C2-A094-AF8F-322EDF8C9EE1}"/>
              </a:ext>
            </a:extLst>
          </p:cNvPr>
          <p:cNvGrpSpPr/>
          <p:nvPr/>
        </p:nvGrpSpPr>
        <p:grpSpPr>
          <a:xfrm>
            <a:off x="393274" y="1815013"/>
            <a:ext cx="2902108" cy="4721253"/>
            <a:chOff x="461555" y="1562178"/>
            <a:chExt cx="3060528" cy="4978976"/>
          </a:xfrm>
        </p:grpSpPr>
        <p:pic>
          <p:nvPicPr>
            <p:cNvPr id="11" name="Imagem 10" descr="Gráfico, Gráfico de barras&#10;&#10;Descrição gerada automaticamente">
              <a:extLst>
                <a:ext uri="{FF2B5EF4-FFF2-40B4-BE49-F238E27FC236}">
                  <a16:creationId xmlns:a16="http://schemas.microsoft.com/office/drawing/2014/main" id="{8B774903-FD3F-C315-2CFF-46C93AA9BB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3" r="50007"/>
            <a:stretch/>
          </p:blipFill>
          <p:spPr>
            <a:xfrm>
              <a:off x="461555" y="1562178"/>
              <a:ext cx="3060528" cy="2512209"/>
            </a:xfrm>
            <a:prstGeom prst="rect">
              <a:avLst/>
            </a:prstGeom>
          </p:spPr>
        </p:pic>
        <p:pic>
          <p:nvPicPr>
            <p:cNvPr id="14" name="Imagem 13" descr="Gráfico, Gráfico de barras&#10;&#10;Descrição gerada automaticamente">
              <a:extLst>
                <a:ext uri="{FF2B5EF4-FFF2-40B4-BE49-F238E27FC236}">
                  <a16:creationId xmlns:a16="http://schemas.microsoft.com/office/drawing/2014/main" id="{22E3623E-6852-5720-C7DD-769E8875E5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126"/>
            <a:stretch/>
          </p:blipFill>
          <p:spPr>
            <a:xfrm>
              <a:off x="461555" y="4086562"/>
              <a:ext cx="3060528" cy="24545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112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eb-scrape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46C79D37-E972-8BFF-F5A4-04905A3D25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85" b="7013"/>
          <a:stretch/>
        </p:blipFill>
        <p:spPr>
          <a:xfrm>
            <a:off x="4382199" y="0"/>
            <a:ext cx="7167973" cy="6858000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41854A-DE5C-B8CE-EB20-EEF610CE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2624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759" y="637762"/>
            <a:ext cx="3084875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Processamento</a:t>
            </a:r>
            <a:r>
              <a:rPr lang="en-US" sz="3600" dirty="0">
                <a:solidFill>
                  <a:schemeClr val="bg1"/>
                </a:solidFill>
              </a:rPr>
              <a:t> dos dado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FE09BC2C-9CBA-A398-7A43-44AEB8393C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64" b="18946"/>
          <a:stretch/>
        </p:blipFill>
        <p:spPr>
          <a:xfrm>
            <a:off x="4502331" y="-1"/>
            <a:ext cx="6583680" cy="6858001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4DB8DAA-2C72-23C9-3162-E3A2361DE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8213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37762"/>
            <a:ext cx="2509433" cy="5576770"/>
          </a:xfrm>
        </p:spPr>
        <p:txBody>
          <a:bodyPr anchor="t">
            <a:normAutofit/>
          </a:bodyPr>
          <a:lstStyle/>
          <a:p>
            <a:r>
              <a:rPr lang="en-US" sz="3600" dirty="0" err="1">
                <a:solidFill>
                  <a:schemeClr val="bg1"/>
                </a:solidFill>
              </a:rPr>
              <a:t>Modelo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de </a:t>
            </a:r>
            <a:r>
              <a:rPr lang="en-US" sz="3600" dirty="0" err="1">
                <a:solidFill>
                  <a:schemeClr val="bg1"/>
                </a:solidFill>
              </a:rPr>
              <a:t>classificação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2" y="1332650"/>
            <a:ext cx="6699067" cy="5023700"/>
          </a:xfrm>
        </p:spPr>
        <p:txBody>
          <a:bodyPr>
            <a:normAutofit/>
          </a:bodyPr>
          <a:lstStyle/>
          <a:p>
            <a:r>
              <a:rPr lang="pt-BR" dirty="0"/>
              <a:t>Word </a:t>
            </a:r>
            <a:r>
              <a:rPr lang="pt-BR" dirty="0" err="1"/>
              <a:t>embeddings</a:t>
            </a:r>
            <a:r>
              <a:rPr lang="pt-BR" dirty="0"/>
              <a:t> </a:t>
            </a:r>
            <a:r>
              <a:rPr lang="pt-BR" b="1" dirty="0"/>
              <a:t>Word2vec</a:t>
            </a:r>
            <a:r>
              <a:rPr lang="pt-BR" dirty="0"/>
              <a:t> (Google) e </a:t>
            </a:r>
            <a:r>
              <a:rPr lang="pt-BR" b="1" dirty="0" err="1"/>
              <a:t>GloVe</a:t>
            </a:r>
            <a:r>
              <a:rPr lang="pt-BR" dirty="0"/>
              <a:t> (Stanford): indicação de </a:t>
            </a:r>
            <a:r>
              <a:rPr lang="pt-BR" dirty="0" err="1"/>
              <a:t>overfitting</a:t>
            </a:r>
            <a:endParaRPr lang="pt-BR" dirty="0"/>
          </a:p>
          <a:p>
            <a:r>
              <a:rPr lang="pt-BR" b="1" dirty="0"/>
              <a:t>SVM </a:t>
            </a:r>
            <a:r>
              <a:rPr lang="pt-BR" dirty="0"/>
              <a:t>com TF-IDF via </a:t>
            </a:r>
            <a:r>
              <a:rPr lang="pt-BR" dirty="0" err="1"/>
              <a:t>spaCy</a:t>
            </a:r>
            <a:r>
              <a:rPr lang="pt-BR" dirty="0"/>
              <a:t>: Resultados em inglês foram satisfatórios; em português, ficaram bem abaixo</a:t>
            </a:r>
          </a:p>
          <a:p>
            <a:r>
              <a:rPr lang="pt-BR" b="1" dirty="0"/>
              <a:t>LDA</a:t>
            </a:r>
            <a:r>
              <a:rPr lang="pt-BR" dirty="0"/>
              <a:t> não supervisionado para extração de </a:t>
            </a:r>
            <a:r>
              <a:rPr lang="pt-BR" dirty="0" err="1"/>
              <a:t>labels</a:t>
            </a:r>
            <a:r>
              <a:rPr lang="pt-BR" dirty="0"/>
              <a:t>: resultados não satisfatórios</a:t>
            </a:r>
          </a:p>
          <a:p>
            <a:r>
              <a:rPr lang="pt-BR" dirty="0" err="1"/>
              <a:t>Deep</a:t>
            </a:r>
            <a:r>
              <a:rPr lang="pt-BR" dirty="0"/>
              <a:t> </a:t>
            </a:r>
            <a:r>
              <a:rPr lang="pt-BR" dirty="0" err="1"/>
              <a:t>learning</a:t>
            </a:r>
            <a:r>
              <a:rPr lang="pt-BR" dirty="0"/>
              <a:t> </a:t>
            </a:r>
            <a:r>
              <a:rPr lang="pt-BR" b="1" dirty="0"/>
              <a:t>LSTM</a:t>
            </a:r>
          </a:p>
          <a:p>
            <a:r>
              <a:rPr lang="pt-BR" b="1" dirty="0"/>
              <a:t>BERT</a:t>
            </a:r>
            <a:r>
              <a:rPr lang="pt-BR" dirty="0"/>
              <a:t> (</a:t>
            </a:r>
            <a:r>
              <a:rPr lang="pt-BR" dirty="0" err="1"/>
              <a:t>Bidirectional</a:t>
            </a:r>
            <a:r>
              <a:rPr lang="pt-BR" dirty="0"/>
              <a:t> </a:t>
            </a:r>
            <a:r>
              <a:rPr lang="pt-BR" dirty="0" err="1"/>
              <a:t>Encoder</a:t>
            </a:r>
            <a:r>
              <a:rPr lang="pt-BR" dirty="0"/>
              <a:t> </a:t>
            </a:r>
            <a:r>
              <a:rPr lang="pt-BR" dirty="0" err="1"/>
              <a:t>Representations</a:t>
            </a:r>
            <a:r>
              <a:rPr lang="pt-BR" dirty="0"/>
              <a:t> </a:t>
            </a:r>
            <a:r>
              <a:rPr lang="pt-BR" dirty="0" err="1"/>
              <a:t>from</a:t>
            </a:r>
            <a:r>
              <a:rPr lang="pt-BR" dirty="0"/>
              <a:t> Transformers) com bases </a:t>
            </a:r>
            <a:r>
              <a:rPr lang="pt-BR" dirty="0" err="1"/>
              <a:t>pré</a:t>
            </a:r>
            <a:r>
              <a:rPr lang="pt-BR" dirty="0"/>
              <a:t>-treinadas</a:t>
            </a:r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B306E85D-ADDF-3E3C-7FFA-83EEA27BE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117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461" y="637762"/>
            <a:ext cx="2383173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ord Embedding: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pt-BR" sz="3600" dirty="0">
                <a:solidFill>
                  <a:schemeClr val="bg1"/>
                </a:solidFill>
              </a:rPr>
              <a:t>Portuguê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1C91203-F98C-5C12-0251-F3CAC812C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6</a:t>
            </a:fld>
            <a:endParaRPr lang="en-US" dirty="0"/>
          </a:p>
        </p:txBody>
      </p:sp>
      <p:pic>
        <p:nvPicPr>
          <p:cNvPr id="8" name="Imagem 7" descr="Texto, chat ou mensagem de texto&#10;&#10;Descrição gerada automaticamente">
            <a:extLst>
              <a:ext uri="{FF2B5EF4-FFF2-40B4-BE49-F238E27FC236}">
                <a16:creationId xmlns:a16="http://schemas.microsoft.com/office/drawing/2014/main" id="{6896B379-E226-32AA-F1DB-3DCF6E5F77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3" y="-2853"/>
            <a:ext cx="5427443" cy="685800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7" name="Tinta 6">
                <a:extLst>
                  <a:ext uri="{FF2B5EF4-FFF2-40B4-BE49-F238E27FC236}">
                    <a16:creationId xmlns:a16="http://schemas.microsoft.com/office/drawing/2014/main" id="{7F462308-81F3-EA35-E667-7292C1829C90}"/>
                  </a:ext>
                </a:extLst>
              </p14:cNvPr>
              <p14:cNvContentPartPr/>
              <p14:nvPr/>
            </p14:nvContentPartPr>
            <p14:xfrm>
              <a:off x="5294657" y="4432423"/>
              <a:ext cx="2222640" cy="70560"/>
            </p14:xfrm>
          </p:contentPart>
        </mc:Choice>
        <mc:Fallback>
          <p:pic>
            <p:nvPicPr>
              <p:cNvPr id="7" name="Tinta 6">
                <a:extLst>
                  <a:ext uri="{FF2B5EF4-FFF2-40B4-BE49-F238E27FC236}">
                    <a16:creationId xmlns:a16="http://schemas.microsoft.com/office/drawing/2014/main" id="{7F462308-81F3-EA35-E667-7292C1829C9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240657" y="4324783"/>
                <a:ext cx="2330280" cy="286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9" name="Tinta 8">
                <a:extLst>
                  <a:ext uri="{FF2B5EF4-FFF2-40B4-BE49-F238E27FC236}">
                    <a16:creationId xmlns:a16="http://schemas.microsoft.com/office/drawing/2014/main" id="{A8AD6B22-109D-30CB-41E5-52A09D29F2EB}"/>
                  </a:ext>
                </a:extLst>
              </p14:cNvPr>
              <p14:cNvContentPartPr/>
              <p14:nvPr/>
            </p14:nvContentPartPr>
            <p14:xfrm>
              <a:off x="5311577" y="4536463"/>
              <a:ext cx="2204280" cy="79200"/>
            </p14:xfrm>
          </p:contentPart>
        </mc:Choice>
        <mc:Fallback>
          <p:pic>
            <p:nvPicPr>
              <p:cNvPr id="9" name="Tinta 8">
                <a:extLst>
                  <a:ext uri="{FF2B5EF4-FFF2-40B4-BE49-F238E27FC236}">
                    <a16:creationId xmlns:a16="http://schemas.microsoft.com/office/drawing/2014/main" id="{A8AD6B22-109D-30CB-41E5-52A09D29F2EB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257577" y="4428823"/>
                <a:ext cx="2311920" cy="294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665315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4461" y="637762"/>
            <a:ext cx="2383173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Word Embedding: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pt-BR" sz="3600" dirty="0">
                <a:solidFill>
                  <a:schemeClr val="bg1"/>
                </a:solidFill>
              </a:rPr>
              <a:t>Inglê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1C91203-F98C-5C12-0251-F3CAC812C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7</a:t>
            </a:fld>
            <a:endParaRPr lang="en-US" dirty="0"/>
          </a:p>
        </p:txBody>
      </p:sp>
      <p:pic>
        <p:nvPicPr>
          <p:cNvPr id="14" name="Imagem 13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53C8A7A2-0EC4-E884-F293-3F6E7B3D6F1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07"/>
          <a:stretch/>
        </p:blipFill>
        <p:spPr>
          <a:xfrm>
            <a:off x="4654733" y="-1"/>
            <a:ext cx="5379898" cy="6858001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5" name="Tinta 14">
                <a:extLst>
                  <a:ext uri="{FF2B5EF4-FFF2-40B4-BE49-F238E27FC236}">
                    <a16:creationId xmlns:a16="http://schemas.microsoft.com/office/drawing/2014/main" id="{0CC4B4FD-CAFA-9454-5AFE-014E526EF191}"/>
                  </a:ext>
                </a:extLst>
              </p14:cNvPr>
              <p14:cNvContentPartPr/>
              <p14:nvPr/>
            </p14:nvContentPartPr>
            <p14:xfrm>
              <a:off x="5225177" y="6540223"/>
              <a:ext cx="1729800" cy="60480"/>
            </p14:xfrm>
          </p:contentPart>
        </mc:Choice>
        <mc:Fallback>
          <p:pic>
            <p:nvPicPr>
              <p:cNvPr id="15" name="Tinta 14">
                <a:extLst>
                  <a:ext uri="{FF2B5EF4-FFF2-40B4-BE49-F238E27FC236}">
                    <a16:creationId xmlns:a16="http://schemas.microsoft.com/office/drawing/2014/main" id="{0CC4B4FD-CAFA-9454-5AFE-014E526EF19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171177" y="6432223"/>
                <a:ext cx="1837440" cy="276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16" name="Tinta 15">
                <a:extLst>
                  <a:ext uri="{FF2B5EF4-FFF2-40B4-BE49-F238E27FC236}">
                    <a16:creationId xmlns:a16="http://schemas.microsoft.com/office/drawing/2014/main" id="{37246E47-C944-C043-9863-D66255AAA68A}"/>
                  </a:ext>
                </a:extLst>
              </p14:cNvPr>
              <p14:cNvContentPartPr/>
              <p14:nvPr/>
            </p14:nvContentPartPr>
            <p14:xfrm>
              <a:off x="5223737" y="6661543"/>
              <a:ext cx="2335320" cy="36360"/>
            </p14:xfrm>
          </p:contentPart>
        </mc:Choice>
        <mc:Fallback>
          <p:pic>
            <p:nvPicPr>
              <p:cNvPr id="16" name="Tinta 15">
                <a:extLst>
                  <a:ext uri="{FF2B5EF4-FFF2-40B4-BE49-F238E27FC236}">
                    <a16:creationId xmlns:a16="http://schemas.microsoft.com/office/drawing/2014/main" id="{37246E47-C944-C043-9863-D66255AAA68A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169737" y="6553903"/>
                <a:ext cx="2442960" cy="252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876006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SVM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agem 6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64076234-A749-4C48-84C3-8766CA0A2F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4934" y="1418466"/>
            <a:ext cx="5896798" cy="5439534"/>
          </a:xfrm>
          <a:prstGeom prst="rect">
            <a:avLst/>
          </a:prstGeo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D84BE81B-6F88-336A-F3EA-D46DC36A2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8</a:t>
            </a:fld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4" name="Tinta 3">
                <a:extLst>
                  <a:ext uri="{FF2B5EF4-FFF2-40B4-BE49-F238E27FC236}">
                    <a16:creationId xmlns:a16="http://schemas.microsoft.com/office/drawing/2014/main" id="{52F404F3-69CC-F755-1764-071EA8E55838}"/>
                  </a:ext>
                </a:extLst>
              </p14:cNvPr>
              <p14:cNvContentPartPr/>
              <p14:nvPr/>
            </p14:nvContentPartPr>
            <p14:xfrm>
              <a:off x="2654874" y="6485863"/>
              <a:ext cx="1611000" cy="27000"/>
            </p14:xfrm>
          </p:contentPart>
        </mc:Choice>
        <mc:Fallback>
          <p:pic>
            <p:nvPicPr>
              <p:cNvPr id="4" name="Tinta 3">
                <a:extLst>
                  <a:ext uri="{FF2B5EF4-FFF2-40B4-BE49-F238E27FC236}">
                    <a16:creationId xmlns:a16="http://schemas.microsoft.com/office/drawing/2014/main" id="{52F404F3-69CC-F755-1764-071EA8E5583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601234" y="6377863"/>
                <a:ext cx="1718640" cy="242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5" name="Tinta 4">
                <a:extLst>
                  <a:ext uri="{FF2B5EF4-FFF2-40B4-BE49-F238E27FC236}">
                    <a16:creationId xmlns:a16="http://schemas.microsoft.com/office/drawing/2014/main" id="{11902FFC-A200-CB4A-1686-6C456946B9E8}"/>
                  </a:ext>
                </a:extLst>
              </p14:cNvPr>
              <p14:cNvContentPartPr/>
              <p14:nvPr/>
            </p14:nvContentPartPr>
            <p14:xfrm>
              <a:off x="4319417" y="6485863"/>
              <a:ext cx="1532880" cy="37080"/>
            </p14:xfrm>
          </p:contentPart>
        </mc:Choice>
        <mc:Fallback>
          <p:pic>
            <p:nvPicPr>
              <p:cNvPr id="5" name="Tinta 4">
                <a:extLst>
                  <a:ext uri="{FF2B5EF4-FFF2-40B4-BE49-F238E27FC236}">
                    <a16:creationId xmlns:a16="http://schemas.microsoft.com/office/drawing/2014/main" id="{11902FFC-A200-CB4A-1686-6C456946B9E8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265417" y="6378223"/>
                <a:ext cx="1640520" cy="252720"/>
              </a:xfrm>
              <a:prstGeom prst="rect">
                <a:avLst/>
              </a:prstGeom>
            </p:spPr>
          </p:pic>
        </mc:Fallback>
      </mc:AlternateContent>
      <p:pic>
        <p:nvPicPr>
          <p:cNvPr id="11" name="Imagem 10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CDC72A85-049C-A3A7-B2DB-74BE5D97EC2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3350" y="545245"/>
            <a:ext cx="5658640" cy="543953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6" name="Tinta 5">
                <a:extLst>
                  <a:ext uri="{FF2B5EF4-FFF2-40B4-BE49-F238E27FC236}">
                    <a16:creationId xmlns:a16="http://schemas.microsoft.com/office/drawing/2014/main" id="{6259F161-0926-939B-86C6-78E32C7A6AAE}"/>
                  </a:ext>
                </a:extLst>
              </p14:cNvPr>
              <p14:cNvContentPartPr/>
              <p14:nvPr/>
            </p14:nvContentPartPr>
            <p14:xfrm>
              <a:off x="6533350" y="5620117"/>
              <a:ext cx="2674800" cy="54000"/>
            </p14:xfrm>
          </p:contentPart>
        </mc:Choice>
        <mc:Fallback>
          <p:pic>
            <p:nvPicPr>
              <p:cNvPr id="6" name="Tinta 5">
                <a:extLst>
                  <a:ext uri="{FF2B5EF4-FFF2-40B4-BE49-F238E27FC236}">
                    <a16:creationId xmlns:a16="http://schemas.microsoft.com/office/drawing/2014/main" id="{6259F161-0926-939B-86C6-78E32C7A6AAE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479350" y="5512477"/>
                <a:ext cx="2782440" cy="269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50993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DA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Texto&#10;&#10;Descrição gerada automaticamente com confiança média">
            <a:extLst>
              <a:ext uri="{FF2B5EF4-FFF2-40B4-BE49-F238E27FC236}">
                <a16:creationId xmlns:a16="http://schemas.microsoft.com/office/drawing/2014/main" id="{3ECDA792-4DF8-9187-19AC-60BFD389D42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521" y="2827625"/>
            <a:ext cx="10196948" cy="3711287"/>
          </a:xfrm>
        </p:spPr>
      </p:pic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258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 err="1">
                <a:solidFill>
                  <a:schemeClr val="bg1"/>
                </a:solidFill>
              </a:rPr>
              <a:t>Objetiv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5023700"/>
          </a:xfrm>
        </p:spPr>
        <p:txBody>
          <a:bodyPr/>
          <a:lstStyle/>
          <a:p>
            <a:r>
              <a:rPr lang="pt-BR" dirty="0"/>
              <a:t>Analisar os documentos de política monetária do Banco Central utilizando modelos de </a:t>
            </a:r>
            <a:r>
              <a:rPr lang="pt-BR" b="1" dirty="0">
                <a:highlight>
                  <a:srgbClr val="C0C0C0"/>
                </a:highlight>
              </a:rPr>
              <a:t>Natural Language Processing </a:t>
            </a:r>
            <a:r>
              <a:rPr lang="pt-BR" dirty="0"/>
              <a:t>(NLP), em </a:t>
            </a:r>
            <a:r>
              <a:rPr lang="pt-BR" b="1" dirty="0"/>
              <a:t>Python.</a:t>
            </a:r>
          </a:p>
          <a:p>
            <a:endParaRPr lang="pt-BR" b="1" dirty="0"/>
          </a:p>
          <a:p>
            <a:r>
              <a:rPr lang="pt-BR" dirty="0"/>
              <a:t>Objetivo é </a:t>
            </a:r>
            <a:r>
              <a:rPr lang="pt-BR" b="1" dirty="0"/>
              <a:t>avaliar se os modelos </a:t>
            </a:r>
            <a:r>
              <a:rPr lang="pt-BR" dirty="0"/>
              <a:t>de NLP são </a:t>
            </a:r>
            <a:r>
              <a:rPr lang="pt-BR" b="1" dirty="0"/>
              <a:t>eficientes</a:t>
            </a:r>
            <a:r>
              <a:rPr lang="pt-BR" dirty="0"/>
              <a:t> para entender a comunicação do BC e as mensagens transmitidas nos instrumentos oficiais, como as atas e os comunicados do Copom.</a:t>
            </a:r>
            <a:endParaRPr lang="en-US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7EE43A9-926E-7515-3899-B21EE8AC82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8810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STM </a:t>
            </a: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portuguê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com </a:t>
            </a:r>
            <a:r>
              <a:rPr lang="en-US" sz="3600" dirty="0" err="1">
                <a:solidFill>
                  <a:schemeClr val="bg1"/>
                </a:solidFill>
              </a:rPr>
              <a:t>GloV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0</a:t>
            </a:fld>
            <a:endParaRPr lang="en-US" dirty="0"/>
          </a:p>
        </p:txBody>
      </p:sp>
      <p:pic>
        <p:nvPicPr>
          <p:cNvPr id="8" name="Imagem 7" descr="Interface gráfica do usuário, Gráfico&#10;&#10;Descrição gerada automaticamente">
            <a:extLst>
              <a:ext uri="{FF2B5EF4-FFF2-40B4-BE49-F238E27FC236}">
                <a16:creationId xmlns:a16="http://schemas.microsoft.com/office/drawing/2014/main" id="{BE5B3E95-E8BA-5ECB-9446-579C58EEBE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2" y="1212013"/>
            <a:ext cx="8451608" cy="56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8564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STM </a:t>
            </a: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inglês</a:t>
            </a:r>
            <a:r>
              <a:rPr lang="en-US" sz="3600" dirty="0">
                <a:solidFill>
                  <a:schemeClr val="bg1"/>
                </a:solidFill>
              </a:rPr>
              <a:t> com </a:t>
            </a:r>
            <a:r>
              <a:rPr lang="en-US" sz="3600" dirty="0" err="1">
                <a:solidFill>
                  <a:schemeClr val="bg1"/>
                </a:solidFill>
              </a:rPr>
              <a:t>GloV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3564AF31-F692-E89D-082D-4D97DF3C1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1</a:t>
            </a:fld>
            <a:endParaRPr lang="en-US" dirty="0"/>
          </a:p>
        </p:txBody>
      </p:sp>
      <p:pic>
        <p:nvPicPr>
          <p:cNvPr id="5" name="Imagem 4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60950B9E-8901-3BDC-6BD9-BCC087D111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2" y="1299577"/>
            <a:ext cx="8451608" cy="5558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7944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637762"/>
            <a:ext cx="261611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7A258607-D0C3-36FA-6021-DC45A2D5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2</a:t>
            </a:fld>
            <a:endParaRPr lang="en-US" dirty="0"/>
          </a:p>
        </p:txBody>
      </p:sp>
      <p:pic>
        <p:nvPicPr>
          <p:cNvPr id="6" name="Imagem 5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0F9DD253-D37D-F8EE-D9AB-E71DF27751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154" y="637762"/>
            <a:ext cx="7802064" cy="6077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2487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637762"/>
            <a:ext cx="2616114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7A258607-D0C3-36FA-6021-DC45A2D5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3</a:t>
            </a:fld>
            <a:endParaRPr lang="en-US" dirty="0"/>
          </a:p>
        </p:txBody>
      </p:sp>
      <p:pic>
        <p:nvPicPr>
          <p:cNvPr id="8" name="Imagem 7" descr="Interface gráfica do usuário, Texto, Aplicativo, chat ou mensagem de texto&#10;&#10;Descrição gerada automaticamente">
            <a:extLst>
              <a:ext uri="{FF2B5EF4-FFF2-40B4-BE49-F238E27FC236}">
                <a16:creationId xmlns:a16="http://schemas.microsoft.com/office/drawing/2014/main" id="{06B5C25C-D8FE-A2A5-328D-C4C1BAB4F1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93" y="2154474"/>
            <a:ext cx="6335682" cy="3238237"/>
          </a:xfrm>
          <a:prstGeom prst="rect">
            <a:avLst/>
          </a:prstGeom>
        </p:spPr>
      </p:pic>
      <p:pic>
        <p:nvPicPr>
          <p:cNvPr id="5" name="Imagem 4" descr="Interface gráfica do usuário, Texto, Aplicativo, Email&#10;&#10;Descrição gerada automaticamente">
            <a:extLst>
              <a:ext uri="{FF2B5EF4-FFF2-40B4-BE49-F238E27FC236}">
                <a16:creationId xmlns:a16="http://schemas.microsoft.com/office/drawing/2014/main" id="{DB46DB4A-7089-6C76-A396-03645DF479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864" y="0"/>
            <a:ext cx="58123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747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937" y="637762"/>
            <a:ext cx="2598697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97A3EAF3-A434-9162-FEB5-5E03A1BF3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4</a:t>
            </a:fld>
            <a:endParaRPr lang="en-US" dirty="0"/>
          </a:p>
        </p:txBody>
      </p:sp>
      <p:pic>
        <p:nvPicPr>
          <p:cNvPr id="6" name="Imagem 5" descr="Texto&#10;&#10;Descrição gerada automaticamente">
            <a:extLst>
              <a:ext uri="{FF2B5EF4-FFF2-40B4-BE49-F238E27FC236}">
                <a16:creationId xmlns:a16="http://schemas.microsoft.com/office/drawing/2014/main" id="{5DB2C1B3-8419-B82B-A633-3990BE7CAD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76" y="2187574"/>
            <a:ext cx="6447731" cy="4351338"/>
          </a:xfrm>
          <a:prstGeom prst="rect">
            <a:avLst/>
          </a:prstGeom>
        </p:spPr>
      </p:pic>
      <p:pic>
        <p:nvPicPr>
          <p:cNvPr id="5" name="Espaço Reservado para Conteúdo 4" descr="Texto&#10;&#10;Descrição gerada automaticamente">
            <a:extLst>
              <a:ext uri="{FF2B5EF4-FFF2-40B4-BE49-F238E27FC236}">
                <a16:creationId xmlns:a16="http://schemas.microsoft.com/office/drawing/2014/main" id="{850094BC-BD3F-876D-A43E-486B4FD2FA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350" y="981073"/>
            <a:ext cx="6984156" cy="5740402"/>
          </a:xfr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8" name="Tinta 7">
                <a:extLst>
                  <a:ext uri="{FF2B5EF4-FFF2-40B4-BE49-F238E27FC236}">
                    <a16:creationId xmlns:a16="http://schemas.microsoft.com/office/drawing/2014/main" id="{450E4A4F-2D9D-EDE7-0F2B-43BC69D420F2}"/>
                  </a:ext>
                </a:extLst>
              </p14:cNvPr>
              <p14:cNvContentPartPr/>
              <p14:nvPr/>
            </p14:nvContentPartPr>
            <p14:xfrm>
              <a:off x="644537" y="5935783"/>
              <a:ext cx="2355480" cy="83520"/>
            </p14:xfrm>
          </p:contentPart>
        </mc:Choice>
        <mc:Fallback>
          <p:pic>
            <p:nvPicPr>
              <p:cNvPr id="8" name="Tinta 7">
                <a:extLst>
                  <a:ext uri="{FF2B5EF4-FFF2-40B4-BE49-F238E27FC236}">
                    <a16:creationId xmlns:a16="http://schemas.microsoft.com/office/drawing/2014/main" id="{450E4A4F-2D9D-EDE7-0F2B-43BC69D420F2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0537" y="5827783"/>
                <a:ext cx="2463120" cy="299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9" name="Tinta 8">
                <a:extLst>
                  <a:ext uri="{FF2B5EF4-FFF2-40B4-BE49-F238E27FC236}">
                    <a16:creationId xmlns:a16="http://schemas.microsoft.com/office/drawing/2014/main" id="{D0B64C66-088B-DD60-6620-8378D64BB3AD}"/>
                  </a:ext>
                </a:extLst>
              </p14:cNvPr>
              <p14:cNvContentPartPr/>
              <p14:nvPr/>
            </p14:nvContentPartPr>
            <p14:xfrm>
              <a:off x="5756177" y="5948023"/>
              <a:ext cx="1865160" cy="9360"/>
            </p14:xfrm>
          </p:contentPart>
        </mc:Choice>
        <mc:Fallback>
          <p:pic>
            <p:nvPicPr>
              <p:cNvPr id="9" name="Tinta 8">
                <a:extLst>
                  <a:ext uri="{FF2B5EF4-FFF2-40B4-BE49-F238E27FC236}">
                    <a16:creationId xmlns:a16="http://schemas.microsoft.com/office/drawing/2014/main" id="{D0B64C66-088B-DD60-6620-8378D64BB3A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02177" y="5840023"/>
                <a:ext cx="1972800" cy="225000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CaixaDeTexto 11">
            <a:extLst>
              <a:ext uri="{FF2B5EF4-FFF2-40B4-BE49-F238E27FC236}">
                <a16:creationId xmlns:a16="http://schemas.microsoft.com/office/drawing/2014/main" id="{B2253857-A87F-829E-AE2F-1FF2B98596DC}"/>
              </a:ext>
            </a:extLst>
          </p:cNvPr>
          <p:cNvSpPr txBox="1"/>
          <p:nvPr/>
        </p:nvSpPr>
        <p:spPr>
          <a:xfrm>
            <a:off x="356188" y="1757282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FB435FA-1252-DB6B-819E-6B02596B8D3E}"/>
              </a:ext>
            </a:extLst>
          </p:cNvPr>
          <p:cNvSpPr txBox="1"/>
          <p:nvPr/>
        </p:nvSpPr>
        <p:spPr>
          <a:xfrm>
            <a:off x="5204831" y="539789"/>
            <a:ext cx="1483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b="1" dirty="0">
              <a:highlight>
                <a:srgbClr val="C0C0C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1289096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86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5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Espaço Reservado para Conteúdo 4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C5374F2D-DC32-581C-CCA5-7104F680A1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392" y="1739116"/>
            <a:ext cx="5549598" cy="5118884"/>
          </a:xfr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12" name="Tinta 11">
                <a:extLst>
                  <a:ext uri="{FF2B5EF4-FFF2-40B4-BE49-F238E27FC236}">
                    <a16:creationId xmlns:a16="http://schemas.microsoft.com/office/drawing/2014/main" id="{438F9773-87D3-9E59-7079-A8B51F58471C}"/>
                  </a:ext>
                </a:extLst>
              </p14:cNvPr>
              <p14:cNvContentPartPr/>
              <p14:nvPr/>
            </p14:nvContentPartPr>
            <p14:xfrm>
              <a:off x="7163088" y="2202069"/>
              <a:ext cx="1611000" cy="44640"/>
            </p14:xfrm>
          </p:contentPart>
        </mc:Choice>
        <mc:Fallback>
          <p:pic>
            <p:nvPicPr>
              <p:cNvPr id="12" name="Tinta 11">
                <a:extLst>
                  <a:ext uri="{FF2B5EF4-FFF2-40B4-BE49-F238E27FC236}">
                    <a16:creationId xmlns:a16="http://schemas.microsoft.com/office/drawing/2014/main" id="{438F9773-87D3-9E59-7079-A8B51F58471C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109088" y="2094429"/>
                <a:ext cx="1718640" cy="260280"/>
              </a:xfrm>
              <a:prstGeom prst="rect">
                <a:avLst/>
              </a:prstGeom>
            </p:spPr>
          </p:pic>
        </mc:Fallback>
      </mc:AlternateContent>
      <p:pic>
        <p:nvPicPr>
          <p:cNvPr id="14" name="Imagem 13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0AE90A78-A038-4734-8EF5-AE61E38123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221" y="1860660"/>
            <a:ext cx="5225182" cy="4997340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1" name="Tinta 10">
                <a:extLst>
                  <a:ext uri="{FF2B5EF4-FFF2-40B4-BE49-F238E27FC236}">
                    <a16:creationId xmlns:a16="http://schemas.microsoft.com/office/drawing/2014/main" id="{7E586FC8-8BF5-0EF8-3FE7-54BFC1843A92}"/>
                  </a:ext>
                </a:extLst>
              </p14:cNvPr>
              <p14:cNvContentPartPr/>
              <p14:nvPr/>
            </p14:nvContentPartPr>
            <p14:xfrm>
              <a:off x="1897729" y="2403207"/>
              <a:ext cx="1646280" cy="26280"/>
            </p14:xfrm>
          </p:contentPart>
        </mc:Choice>
        <mc:Fallback>
          <p:pic>
            <p:nvPicPr>
              <p:cNvPr id="11" name="Tinta 10">
                <a:extLst>
                  <a:ext uri="{FF2B5EF4-FFF2-40B4-BE49-F238E27FC236}">
                    <a16:creationId xmlns:a16="http://schemas.microsoft.com/office/drawing/2014/main" id="{7E586FC8-8BF5-0EF8-3FE7-54BFC1843A9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844089" y="2295207"/>
                <a:ext cx="1753920" cy="24192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CaixaDeTexto 14">
            <a:extLst>
              <a:ext uri="{FF2B5EF4-FFF2-40B4-BE49-F238E27FC236}">
                <a16:creationId xmlns:a16="http://schemas.microsoft.com/office/drawing/2014/main" id="{E45C7E45-B4F1-84D4-A250-479B90FBC839}"/>
              </a:ext>
            </a:extLst>
          </p:cNvPr>
          <p:cNvSpPr txBox="1"/>
          <p:nvPr/>
        </p:nvSpPr>
        <p:spPr>
          <a:xfrm>
            <a:off x="1525020" y="1491327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7B2B70E7-410B-8AF0-59EA-F303BF3B0396}"/>
              </a:ext>
            </a:extLst>
          </p:cNvPr>
          <p:cNvSpPr txBox="1"/>
          <p:nvPr/>
        </p:nvSpPr>
        <p:spPr>
          <a:xfrm>
            <a:off x="6655998" y="1309082"/>
            <a:ext cx="18434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249267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10DCFDC-8159-F02F-3F86-48C7B74CE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6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  <a:br>
              <a:rPr lang="en-US" sz="3600" dirty="0">
                <a:solidFill>
                  <a:schemeClr val="bg1"/>
                </a:solidFill>
              </a:rPr>
            </a:b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90853DF6-6078-BB17-66A5-EAF9B9D49062}"/>
              </a:ext>
            </a:extLst>
          </p:cNvPr>
          <p:cNvSpPr txBox="1"/>
          <p:nvPr/>
        </p:nvSpPr>
        <p:spPr>
          <a:xfrm>
            <a:off x="1215399" y="1397789"/>
            <a:ext cx="2524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solidFill>
                  <a:schemeClr val="bg1"/>
                </a:solidFill>
              </a:rPr>
              <a:t>Português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F53C9849-43CA-9C0F-7D34-AD550FA86784}"/>
              </a:ext>
            </a:extLst>
          </p:cNvPr>
          <p:cNvSpPr txBox="1"/>
          <p:nvPr/>
        </p:nvSpPr>
        <p:spPr>
          <a:xfrm>
            <a:off x="7024794" y="1244536"/>
            <a:ext cx="26727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b="1" dirty="0">
                <a:highlight>
                  <a:srgbClr val="C0C0C0"/>
                </a:highlight>
              </a:rPr>
              <a:t>Inglês</a:t>
            </a:r>
            <a:endParaRPr lang="pt-BR" dirty="0"/>
          </a:p>
        </p:txBody>
      </p:sp>
      <p:pic>
        <p:nvPicPr>
          <p:cNvPr id="28" name="Imagem 27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C69BB645-EFB4-683A-9434-3F55BBD29D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366" y="1780529"/>
            <a:ext cx="5022525" cy="5064103"/>
          </a:xfrm>
          <a:prstGeom prst="rect">
            <a:avLst/>
          </a:prstGeom>
        </p:spPr>
      </p:pic>
      <p:pic>
        <p:nvPicPr>
          <p:cNvPr id="30" name="Imagem 29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F1BDFBD7-E219-8173-B7D4-A4678E062F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9584" y="1682296"/>
            <a:ext cx="5167205" cy="517570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31" name="Tinta 30">
                <a:extLst>
                  <a:ext uri="{FF2B5EF4-FFF2-40B4-BE49-F238E27FC236}">
                    <a16:creationId xmlns:a16="http://schemas.microsoft.com/office/drawing/2014/main" id="{5F96AC48-F456-2471-AE49-F955B0C5B135}"/>
                  </a:ext>
                </a:extLst>
              </p14:cNvPr>
              <p14:cNvContentPartPr/>
              <p14:nvPr/>
            </p14:nvContentPartPr>
            <p14:xfrm>
              <a:off x="2348202" y="2225924"/>
              <a:ext cx="1593360" cy="27000"/>
            </p14:xfrm>
          </p:contentPart>
        </mc:Choice>
        <mc:Fallback>
          <p:pic>
            <p:nvPicPr>
              <p:cNvPr id="31" name="Tinta 30">
                <a:extLst>
                  <a:ext uri="{FF2B5EF4-FFF2-40B4-BE49-F238E27FC236}">
                    <a16:creationId xmlns:a16="http://schemas.microsoft.com/office/drawing/2014/main" id="{5F96AC48-F456-2471-AE49-F955B0C5B135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294562" y="2118284"/>
                <a:ext cx="1701000" cy="2426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32" name="Tinta 31">
                <a:extLst>
                  <a:ext uri="{FF2B5EF4-FFF2-40B4-BE49-F238E27FC236}">
                    <a16:creationId xmlns:a16="http://schemas.microsoft.com/office/drawing/2014/main" id="{53148149-4802-A363-ACC9-459D383D6A10}"/>
                  </a:ext>
                </a:extLst>
              </p14:cNvPr>
              <p14:cNvContentPartPr/>
              <p14:nvPr/>
            </p14:nvContentPartPr>
            <p14:xfrm>
              <a:off x="7485560" y="2188484"/>
              <a:ext cx="1829520" cy="37440"/>
            </p14:xfrm>
          </p:contentPart>
        </mc:Choice>
        <mc:Fallback>
          <p:pic>
            <p:nvPicPr>
              <p:cNvPr id="32" name="Tinta 31">
                <a:extLst>
                  <a:ext uri="{FF2B5EF4-FFF2-40B4-BE49-F238E27FC236}">
                    <a16:creationId xmlns:a16="http://schemas.microsoft.com/office/drawing/2014/main" id="{53148149-4802-A363-ACC9-459D383D6A10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431920" y="2080844"/>
                <a:ext cx="1937160" cy="253080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CaixaDeTexto 33">
            <a:extLst>
              <a:ext uri="{FF2B5EF4-FFF2-40B4-BE49-F238E27FC236}">
                <a16:creationId xmlns:a16="http://schemas.microsoft.com/office/drawing/2014/main" id="{5AFDD638-B72D-D779-7B49-97AE2AB2A40D}"/>
              </a:ext>
            </a:extLst>
          </p:cNvPr>
          <p:cNvSpPr txBox="1"/>
          <p:nvPr/>
        </p:nvSpPr>
        <p:spPr>
          <a:xfrm>
            <a:off x="4398266" y="63580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P</a:t>
            </a:r>
            <a:r>
              <a:rPr lang="en-US" sz="1800" dirty="0" err="1"/>
              <a:t>revisão</a:t>
            </a:r>
            <a:r>
              <a:rPr lang="en-US" sz="1800" dirty="0"/>
              <a:t> </a:t>
            </a:r>
            <a:r>
              <a:rPr lang="en-US" sz="1800" dirty="0" err="1"/>
              <a:t>próxima</a:t>
            </a:r>
            <a:r>
              <a:rPr lang="en-US" sz="1800" dirty="0"/>
              <a:t> </a:t>
            </a:r>
            <a:r>
              <a:rPr lang="en-US" sz="1800" dirty="0" err="1"/>
              <a:t>reuni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7512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Resultad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240" y="1825625"/>
            <a:ext cx="7147560" cy="4351338"/>
          </a:xfrm>
        </p:spPr>
        <p:txBody>
          <a:bodyPr/>
          <a:lstStyle/>
          <a:p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modelos</a:t>
            </a:r>
            <a:r>
              <a:rPr lang="en-US" dirty="0"/>
              <a:t> </a:t>
            </a:r>
            <a:r>
              <a:rPr lang="en-US" dirty="0" err="1"/>
              <a:t>pré-treinados</a:t>
            </a:r>
            <a:r>
              <a:rPr lang="en-US" dirty="0"/>
              <a:t> </a:t>
            </a:r>
            <a:r>
              <a:rPr lang="en-US" dirty="0" err="1"/>
              <a:t>apresentaram</a:t>
            </a:r>
            <a:r>
              <a:rPr lang="en-US" dirty="0"/>
              <a:t> </a:t>
            </a:r>
            <a:r>
              <a:rPr lang="en-US" dirty="0" err="1"/>
              <a:t>resultados</a:t>
            </a:r>
            <a:r>
              <a:rPr lang="en-US" dirty="0"/>
              <a:t> </a:t>
            </a:r>
            <a:r>
              <a:rPr lang="en-US" dirty="0" err="1"/>
              <a:t>consistentes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inglês</a:t>
            </a:r>
            <a:r>
              <a:rPr lang="en-US" dirty="0"/>
              <a:t> e </a:t>
            </a:r>
            <a:r>
              <a:rPr lang="en-US" dirty="0" err="1"/>
              <a:t>português</a:t>
            </a:r>
            <a:r>
              <a:rPr lang="en-US" dirty="0"/>
              <a:t> para as duas “labels” </a:t>
            </a:r>
            <a:r>
              <a:rPr lang="en-US" dirty="0" err="1"/>
              <a:t>definidas</a:t>
            </a:r>
            <a:endParaRPr lang="en-US" dirty="0"/>
          </a:p>
          <a:p>
            <a:r>
              <a:rPr lang="en-US" dirty="0"/>
              <a:t>O </a:t>
            </a:r>
            <a:r>
              <a:rPr lang="en-US" dirty="0" err="1"/>
              <a:t>ponto</a:t>
            </a:r>
            <a:r>
              <a:rPr lang="en-US" dirty="0"/>
              <a:t> </a:t>
            </a:r>
            <a:r>
              <a:rPr lang="en-US" dirty="0" err="1"/>
              <a:t>negativo</a:t>
            </a:r>
            <a:r>
              <a:rPr lang="en-US" dirty="0"/>
              <a:t> é que </a:t>
            </a:r>
            <a:r>
              <a:rPr lang="en-US" dirty="0" err="1"/>
              <a:t>esses</a:t>
            </a:r>
            <a:r>
              <a:rPr lang="en-US" dirty="0"/>
              <a:t> </a:t>
            </a:r>
            <a:r>
              <a:rPr lang="en-US" dirty="0" err="1"/>
              <a:t>modelos</a:t>
            </a:r>
            <a:r>
              <a:rPr lang="en-US" dirty="0"/>
              <a:t> do </a:t>
            </a:r>
            <a:r>
              <a:rPr lang="en-US" dirty="0" err="1"/>
              <a:t>tipo</a:t>
            </a:r>
            <a:r>
              <a:rPr lang="en-US" dirty="0"/>
              <a:t> BERT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limitação</a:t>
            </a:r>
            <a:r>
              <a:rPr lang="en-US" dirty="0"/>
              <a:t> de </a:t>
            </a:r>
            <a:r>
              <a:rPr lang="en-US" dirty="0" err="1"/>
              <a:t>tamanho</a:t>
            </a:r>
            <a:r>
              <a:rPr lang="en-US" dirty="0"/>
              <a:t> dos </a:t>
            </a:r>
            <a:r>
              <a:rPr lang="en-US" dirty="0" err="1"/>
              <a:t>textos</a:t>
            </a:r>
            <a:r>
              <a:rPr lang="en-US" dirty="0"/>
              <a:t> para 512 tokens</a:t>
            </a:r>
          </a:p>
          <a:p>
            <a:r>
              <a:rPr lang="en-US" dirty="0"/>
              <a:t>Testes </a:t>
            </a:r>
            <a:r>
              <a:rPr lang="en-US" dirty="0" err="1"/>
              <a:t>usando</a:t>
            </a:r>
            <a:r>
              <a:rPr lang="en-US" dirty="0"/>
              <a:t> as </a:t>
            </a:r>
            <a:r>
              <a:rPr lang="en-US" dirty="0" err="1"/>
              <a:t>atas</a:t>
            </a:r>
            <a:r>
              <a:rPr lang="en-US" dirty="0"/>
              <a:t> do </a:t>
            </a:r>
            <a:r>
              <a:rPr lang="en-US" dirty="0" err="1"/>
              <a:t>Copom</a:t>
            </a:r>
            <a:r>
              <a:rPr lang="en-US" dirty="0"/>
              <a:t> “</a:t>
            </a:r>
            <a:r>
              <a:rPr lang="en-US" dirty="0" err="1"/>
              <a:t>truncadas</a:t>
            </a:r>
            <a:r>
              <a:rPr lang="en-US" dirty="0"/>
              <a:t>” </a:t>
            </a:r>
            <a:r>
              <a:rPr lang="en-US" dirty="0" err="1"/>
              <a:t>redurizam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resultados</a:t>
            </a:r>
            <a:endParaRPr lang="en-US" dirty="0"/>
          </a:p>
          <a:p>
            <a:endParaRPr lang="en-US" dirty="0"/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7277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10DCFDC-8159-F02F-3F86-48C7B74CEC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10DCFDC-8159-F02F-3F86-48C7B74CE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69EAFDFB-29C1-2A6B-9AD4-9FD029497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8</a:t>
            </a:fld>
            <a:endParaRPr lang="en-US" dirty="0"/>
          </a:p>
        </p:txBody>
      </p:sp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089" y="637762"/>
            <a:ext cx="2694545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Transformers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 err="1">
                <a:solidFill>
                  <a:schemeClr val="bg1"/>
                </a:solidFill>
              </a:rPr>
              <a:t>em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inglês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usando</a:t>
            </a:r>
            <a:r>
              <a:rPr lang="en-US" sz="3600" dirty="0">
                <a:solidFill>
                  <a:schemeClr val="bg1"/>
                </a:solidFill>
              </a:rPr>
              <a:t> </a:t>
            </a:r>
            <a:r>
              <a:rPr lang="en-US" sz="3600" dirty="0" err="1">
                <a:solidFill>
                  <a:schemeClr val="bg1"/>
                </a:solidFill>
              </a:rPr>
              <a:t>todas</a:t>
            </a:r>
            <a:r>
              <a:rPr lang="en-US" sz="3600" dirty="0">
                <a:solidFill>
                  <a:schemeClr val="bg1"/>
                </a:solidFill>
              </a:rPr>
              <a:t> as </a:t>
            </a:r>
            <a:r>
              <a:rPr lang="en-US" sz="3600" dirty="0" err="1">
                <a:solidFill>
                  <a:schemeClr val="bg1"/>
                </a:solidFill>
              </a:rPr>
              <a:t>atas</a:t>
            </a:r>
            <a:r>
              <a:rPr lang="en-US" sz="3600" dirty="0">
                <a:solidFill>
                  <a:schemeClr val="bg1"/>
                </a:solidFill>
              </a:rPr>
              <a:t> e </a:t>
            </a:r>
            <a:r>
              <a:rPr lang="en-US" sz="3600" dirty="0" err="1">
                <a:solidFill>
                  <a:schemeClr val="bg1"/>
                </a:solidFill>
              </a:rPr>
              <a:t>comunicad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Imagem 5" descr="Gráfico, Gráfico de mapa de árvore&#10;&#10;Descrição gerada automaticamente">
            <a:extLst>
              <a:ext uri="{FF2B5EF4-FFF2-40B4-BE49-F238E27FC236}">
                <a16:creationId xmlns:a16="http://schemas.microsoft.com/office/drawing/2014/main" id="{BFC3C71D-4FA5-A34C-0910-580EEBB0EE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5" y="637762"/>
            <a:ext cx="6325483" cy="6163535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7" name="Tinta 6">
                <a:extLst>
                  <a:ext uri="{FF2B5EF4-FFF2-40B4-BE49-F238E27FC236}">
                    <a16:creationId xmlns:a16="http://schemas.microsoft.com/office/drawing/2014/main" id="{28ABB18D-1CDA-B870-0DC4-8200A9A228CE}"/>
                  </a:ext>
                </a:extLst>
              </p14:cNvPr>
              <p14:cNvContentPartPr/>
              <p14:nvPr/>
            </p14:nvContentPartPr>
            <p14:xfrm>
              <a:off x="5277017" y="1323463"/>
              <a:ext cx="1982520" cy="56880"/>
            </p14:xfrm>
          </p:contentPart>
        </mc:Choice>
        <mc:Fallback>
          <p:pic>
            <p:nvPicPr>
              <p:cNvPr id="7" name="Tinta 6">
                <a:extLst>
                  <a:ext uri="{FF2B5EF4-FFF2-40B4-BE49-F238E27FC236}">
                    <a16:creationId xmlns:a16="http://schemas.microsoft.com/office/drawing/2014/main" id="{28ABB18D-1CDA-B870-0DC4-8200A9A228C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23377" y="1215463"/>
                <a:ext cx="2090160" cy="2725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3585626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2" y="637762"/>
            <a:ext cx="2190782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Desenvolvimentos futuro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240" y="1825625"/>
            <a:ext cx="7147560" cy="4351338"/>
          </a:xfrm>
        </p:spPr>
        <p:txBody>
          <a:bodyPr/>
          <a:lstStyle/>
          <a:p>
            <a:r>
              <a:rPr lang="pt-BR" dirty="0"/>
              <a:t>O trabalho serve de ponto de partida para avaliação da comunicação do Banco Central de forma mais ampla, incluindo outros documentos e/ou discursos e apresentações</a:t>
            </a:r>
          </a:p>
          <a:p>
            <a:r>
              <a:rPr lang="pt-BR" dirty="0"/>
              <a:t>O mesmo tipo de análise pode ser estendida para outros bancos centrais pelo mundo</a:t>
            </a:r>
            <a:endParaRPr lang="en-US" dirty="0"/>
          </a:p>
          <a:p>
            <a:endParaRPr lang="en-US" dirty="0"/>
          </a:p>
          <a:p>
            <a:endParaRPr lang="pt-BR" dirty="0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360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5023700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A </a:t>
            </a:r>
            <a:r>
              <a:rPr lang="pt-BR" b="1" dirty="0">
                <a:highlight>
                  <a:srgbClr val="C0C0C0"/>
                </a:highlight>
              </a:rPr>
              <a:t>Bloomberg</a:t>
            </a:r>
            <a:r>
              <a:rPr lang="pt-BR" dirty="0"/>
              <a:t> é uma empresa global de informações financeiras e notícias.</a:t>
            </a:r>
          </a:p>
          <a:p>
            <a:endParaRPr lang="pt-BR" dirty="0"/>
          </a:p>
          <a:p>
            <a:r>
              <a:rPr lang="pt-BR" dirty="0"/>
              <a:t>A análise de dados já é bastante difundida no </a:t>
            </a:r>
            <a:r>
              <a:rPr lang="pt-BR" b="1" dirty="0">
                <a:highlight>
                  <a:srgbClr val="C0C0C0"/>
                </a:highlight>
              </a:rPr>
              <a:t>jornalismo</a:t>
            </a:r>
            <a:r>
              <a:rPr lang="pt-BR" dirty="0"/>
              <a:t> brasileiro, seja por meio do acesso a informações públicas, seja por meio do web scraping dos dados.</a:t>
            </a:r>
          </a:p>
          <a:p>
            <a:endParaRPr lang="pt-BR" dirty="0"/>
          </a:p>
          <a:p>
            <a:r>
              <a:rPr lang="pt-BR" dirty="0"/>
              <a:t>O uso de </a:t>
            </a:r>
            <a:r>
              <a:rPr lang="pt-BR" b="1" dirty="0">
                <a:highlight>
                  <a:srgbClr val="C0C0C0"/>
                </a:highlight>
              </a:rPr>
              <a:t>modelos</a:t>
            </a:r>
            <a:r>
              <a:rPr lang="pt-BR" dirty="0"/>
              <a:t> de aprendizado de máquina, no entanto, ainda não é muito usada.</a:t>
            </a:r>
          </a:p>
          <a:p>
            <a:endParaRPr lang="pt-BR" dirty="0"/>
          </a:p>
          <a:p>
            <a:r>
              <a:rPr lang="pt-BR" dirty="0"/>
              <a:t>Aqui no Brasil se adiciona o desafio de adaptar os modelos de NLP para a </a:t>
            </a:r>
            <a:r>
              <a:rPr lang="pt-BR" b="1" dirty="0">
                <a:highlight>
                  <a:srgbClr val="C0C0C0"/>
                </a:highlight>
              </a:rPr>
              <a:t>língua portuguesa</a:t>
            </a:r>
            <a:r>
              <a:rPr lang="pt-BR" dirty="0"/>
              <a:t>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2179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6320" y="637762"/>
            <a:ext cx="231131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Bibliografia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263D0A2A-6FAA-86BF-40C1-CFC0AD195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30</a:t>
            </a:fld>
            <a:endParaRPr lang="en-US" dirty="0"/>
          </a:p>
        </p:txBody>
      </p:sp>
      <p:pic>
        <p:nvPicPr>
          <p:cNvPr id="8" name="Imagem 7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045F4000-C956-C52F-F6A1-E3E8CA2899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976" y="1463723"/>
            <a:ext cx="3391373" cy="1962424"/>
          </a:xfrm>
          <a:prstGeom prst="rect">
            <a:avLst/>
          </a:prstGeom>
        </p:spPr>
      </p:pic>
      <p:pic>
        <p:nvPicPr>
          <p:cNvPr id="10" name="Imagem 9" descr="Tela de celular com publicação numa rede social&#10;&#10;Descrição gerada automaticamente com confiança baixa">
            <a:extLst>
              <a:ext uri="{FF2B5EF4-FFF2-40B4-BE49-F238E27FC236}">
                <a16:creationId xmlns:a16="http://schemas.microsoft.com/office/drawing/2014/main" id="{0A59C5CF-C34B-D90A-867F-A77C4BC6A5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502" y="3770530"/>
            <a:ext cx="3381847" cy="2086266"/>
          </a:xfrm>
          <a:prstGeom prst="rect">
            <a:avLst/>
          </a:prstGeom>
        </p:spPr>
      </p:pic>
      <p:pic>
        <p:nvPicPr>
          <p:cNvPr id="12" name="Imagem 11" descr="Interface gráfica do usuário, Texto, Aplicativo&#10;&#10;Descrição gerada automaticamente com confiança média">
            <a:extLst>
              <a:ext uri="{FF2B5EF4-FFF2-40B4-BE49-F238E27FC236}">
                <a16:creationId xmlns:a16="http://schemas.microsoft.com/office/drawing/2014/main" id="{326DCF5B-0200-9B9E-6D3F-DDF5D3A068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8138" y="1688202"/>
            <a:ext cx="3467584" cy="150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391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4</a:t>
            </a:fld>
            <a:endParaRPr lang="en-US"/>
          </a:p>
        </p:txBody>
      </p:sp>
      <p:pic>
        <p:nvPicPr>
          <p:cNvPr id="8" name="Imagem 7" descr="Texto&#10;&#10;Descrição gerada automaticamente">
            <a:extLst>
              <a:ext uri="{FF2B5EF4-FFF2-40B4-BE49-F238E27FC236}">
                <a16:creationId xmlns:a16="http://schemas.microsoft.com/office/drawing/2014/main" id="{3ADDFA2E-AFCB-9AD6-A1A8-C67BD39D96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286" y="637762"/>
            <a:ext cx="8200604" cy="5042315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674EFF3E-08BA-F885-071C-CA0FF2AC00B5}"/>
              </a:ext>
            </a:extLst>
          </p:cNvPr>
          <p:cNvSpPr txBox="1"/>
          <p:nvPr/>
        </p:nvSpPr>
        <p:spPr>
          <a:xfrm>
            <a:off x="3869805" y="5987018"/>
            <a:ext cx="64364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https://www.bloomberg.com/graphics/2016-amazon-same-day/</a:t>
            </a:r>
          </a:p>
        </p:txBody>
      </p:sp>
    </p:spTree>
    <p:extLst>
      <p:ext uri="{BB962C8B-B14F-4D97-AF65-F5344CB8AC3E}">
        <p14:creationId xmlns:p14="http://schemas.microsoft.com/office/powerpoint/2010/main" val="48923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37762"/>
            <a:ext cx="2509434" cy="5576770"/>
          </a:xfrm>
        </p:spPr>
        <p:txBody>
          <a:bodyPr anchor="t">
            <a:normAutofit/>
          </a:bodyPr>
          <a:lstStyle/>
          <a:p>
            <a:r>
              <a:rPr lang="pt-BR" sz="3600" dirty="0">
                <a:solidFill>
                  <a:schemeClr val="bg1"/>
                </a:solidFill>
              </a:rPr>
              <a:t>Importância</a:t>
            </a:r>
            <a:r>
              <a:rPr lang="en-US" sz="3600" dirty="0">
                <a:solidFill>
                  <a:schemeClr val="bg1"/>
                </a:solidFill>
              </a:rPr>
              <a:t> para a Bloomberg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1B5A2134-80CD-E220-77C5-C71B065A4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5</a:t>
            </a:fld>
            <a:endParaRPr lang="en-US"/>
          </a:p>
        </p:txBody>
      </p:sp>
      <p:pic>
        <p:nvPicPr>
          <p:cNvPr id="5" name="Imagem 4" descr="Interface gráfica do usuário, Texto, Aplicativo, Email&#10;&#10;Descrição gerada automaticamente">
            <a:extLst>
              <a:ext uri="{FF2B5EF4-FFF2-40B4-BE49-F238E27FC236}">
                <a16:creationId xmlns:a16="http://schemas.microsoft.com/office/drawing/2014/main" id="{9481621C-40E4-CE1F-05DF-2FD2199352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733" y="0"/>
            <a:ext cx="68109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208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346" y="632099"/>
            <a:ext cx="2999291" cy="5576770"/>
          </a:xfrm>
        </p:spPr>
        <p:txBody>
          <a:bodyPr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733" y="1332650"/>
            <a:ext cx="6699067" cy="4881882"/>
          </a:xfrm>
        </p:spPr>
        <p:txBody>
          <a:bodyPr>
            <a:normAutofit fontScale="85000" lnSpcReduction="20000"/>
          </a:bodyPr>
          <a:lstStyle/>
          <a:p>
            <a:r>
              <a:rPr lang="pt-BR" dirty="0"/>
              <a:t>BC faz oito reuniões do Copom por ano; além da decisão da Selic, a </a:t>
            </a:r>
            <a:r>
              <a:rPr lang="pt-BR" b="1" dirty="0"/>
              <a:t>comunicação é peça fundamental </a:t>
            </a:r>
            <a:r>
              <a:rPr lang="pt-BR" dirty="0"/>
              <a:t>dentro do sistema de metas para controlar as expectativas com relação a alta dos preços à frente.</a:t>
            </a:r>
          </a:p>
          <a:p>
            <a:endParaRPr lang="pt-BR" dirty="0"/>
          </a:p>
          <a:p>
            <a:r>
              <a:rPr lang="pt-BR" dirty="0"/>
              <a:t>São dois os principais documentos:</a:t>
            </a:r>
          </a:p>
          <a:p>
            <a:endParaRPr lang="pt-BR" dirty="0"/>
          </a:p>
          <a:p>
            <a:pPr lvl="1"/>
            <a:r>
              <a:rPr lang="pt-BR" b="1" dirty="0">
                <a:highlight>
                  <a:srgbClr val="C0C0C0"/>
                </a:highlight>
              </a:rPr>
              <a:t>Comunicado</a:t>
            </a:r>
            <a:r>
              <a:rPr lang="pt-BR" dirty="0"/>
              <a:t>: texto enxuto publicado logo após a decisão sobre a taxa Selic; entre </a:t>
            </a:r>
            <a:r>
              <a:rPr lang="pt-BR" b="1" dirty="0"/>
              <a:t>500 e 600 palavras</a:t>
            </a:r>
            <a:r>
              <a:rPr lang="pt-BR" dirty="0"/>
              <a:t>.</a:t>
            </a:r>
          </a:p>
          <a:p>
            <a:endParaRPr lang="pt-BR" dirty="0"/>
          </a:p>
          <a:p>
            <a:pPr lvl="1"/>
            <a:r>
              <a:rPr lang="pt-BR" b="1" dirty="0">
                <a:highlight>
                  <a:srgbClr val="C0C0C0"/>
                </a:highlight>
              </a:rPr>
              <a:t>Ata do Copom</a:t>
            </a:r>
            <a:r>
              <a:rPr lang="pt-BR" dirty="0"/>
              <a:t>: mais extensa, descreve a situação econômica, os cenários para a inflação e eventual posições divergentes dentro da diretoria do Banco Central sobre a decisão tomada uma semana antes; mais de </a:t>
            </a:r>
            <a:r>
              <a:rPr lang="pt-BR" b="1" dirty="0"/>
              <a:t>3.000 palavras</a:t>
            </a:r>
            <a:r>
              <a:rPr lang="pt-BR" dirty="0"/>
              <a:t>.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606BE02-BB34-EB23-C808-56C982AF0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6</a:t>
            </a:fld>
            <a:endParaRPr lang="en-US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A6AAD92-3FD4-93CF-9B3A-B961BA492B99}"/>
              </a:ext>
            </a:extLst>
          </p:cNvPr>
          <p:cNvSpPr txBox="1"/>
          <p:nvPr/>
        </p:nvSpPr>
        <p:spPr>
          <a:xfrm>
            <a:off x="348343" y="6171138"/>
            <a:ext cx="49094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</a:rPr>
              <a:t>https://www.bcb.gov.br/controleinflacao/copom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6FFE08E-B623-003B-BA9D-644F183F903A}"/>
              </a:ext>
            </a:extLst>
          </p:cNvPr>
          <p:cNvSpPr txBox="1"/>
          <p:nvPr/>
        </p:nvSpPr>
        <p:spPr>
          <a:xfrm>
            <a:off x="568013" y="3103774"/>
            <a:ext cx="2553851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pt-BR" sz="2000" b="0" i="0" dirty="0">
                <a:solidFill>
                  <a:schemeClr val="bg1"/>
                </a:solidFill>
                <a:effectLst/>
                <a:latin typeface="Ubuntu" panose="020F0502020204030204" pitchFamily="34" charset="0"/>
              </a:rPr>
              <a:t>“Para que a política monetária atinja seus objetivos de maneira eficiente, o Banco Central precisa se comunicar de forma clara e transparente.”</a:t>
            </a:r>
            <a:endParaRPr lang="pt-BR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599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909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20" y="637762"/>
            <a:ext cx="2717714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5096" y="2675655"/>
            <a:ext cx="6978704" cy="3269268"/>
          </a:xfrm>
        </p:spPr>
        <p:txBody>
          <a:bodyPr>
            <a:normAutofit fontScale="92500" lnSpcReduction="20000"/>
          </a:bodyPr>
          <a:lstStyle/>
          <a:p>
            <a:r>
              <a:rPr lang="pt-BR" dirty="0"/>
              <a:t>O </a:t>
            </a:r>
            <a:r>
              <a:rPr lang="pt-BR" b="1" dirty="0"/>
              <a:t>mercado financeiro </a:t>
            </a:r>
            <a:r>
              <a:rPr lang="pt-BR" dirty="0"/>
              <a:t>avalia esses dois comunicados com bastante cuidado em busca de </a:t>
            </a:r>
            <a:r>
              <a:rPr lang="pt-BR" b="1" dirty="0"/>
              <a:t>pistas</a:t>
            </a:r>
            <a:r>
              <a:rPr lang="pt-BR" dirty="0"/>
              <a:t> sobre os próximos passos do BC.</a:t>
            </a:r>
          </a:p>
          <a:p>
            <a:endParaRPr lang="pt-BR" dirty="0"/>
          </a:p>
          <a:p>
            <a:r>
              <a:rPr lang="pt-BR" dirty="0"/>
              <a:t>Se os documentos fornecerem indicações de que a </a:t>
            </a:r>
            <a:r>
              <a:rPr lang="pt-BR" b="1" dirty="0"/>
              <a:t>Selic vai subir ou cair no próximo encontro </a:t>
            </a:r>
            <a:r>
              <a:rPr lang="pt-BR" dirty="0"/>
              <a:t>do Copom, os investidores fazem uso dessa informação para </a:t>
            </a:r>
            <a:r>
              <a:rPr lang="pt-BR" b="1" dirty="0"/>
              <a:t>operar nos diversos ativos </a:t>
            </a:r>
            <a:r>
              <a:rPr lang="pt-BR" dirty="0"/>
              <a:t>brasileiros como o dólar e as ações na bolsa de valores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7</a:t>
            </a:fld>
            <a:endParaRPr lang="en-US" dirty="0"/>
          </a:p>
        </p:txBody>
      </p:sp>
      <p:pic>
        <p:nvPicPr>
          <p:cNvPr id="10" name="Imagem 9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9999561A-E514-F9AE-BB93-9B33C399FD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445" y="0"/>
            <a:ext cx="8413482" cy="2264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562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0367C13-213F-C96E-31A4-D9AE290D5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19" y="637762"/>
            <a:ext cx="2758259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84C8C0E-99C9-6368-8092-78591109A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5097" y="4313224"/>
            <a:ext cx="6978703" cy="2043126"/>
          </a:xfrm>
        </p:spPr>
        <p:txBody>
          <a:bodyPr>
            <a:normAutofit fontScale="85000" lnSpcReduction="20000"/>
          </a:bodyPr>
          <a:lstStyle/>
          <a:p>
            <a:r>
              <a:rPr lang="pt-BR" dirty="0"/>
              <a:t>Nessa última reunião, por exemplo, o Banco Central disse na ata do Copom que pode "iniciar um processo parcimonioso de inflexão na próxima reunião“</a:t>
            </a:r>
          </a:p>
          <a:p>
            <a:r>
              <a:rPr lang="pt-BR" dirty="0"/>
              <a:t>Quase todas as palavras dessa frase são relevantes: iniciar, processo, parcimonioso, inflexão e próxima reunião.</a:t>
            </a:r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8</a:t>
            </a:fld>
            <a:endParaRPr lang="en-US" dirty="0"/>
          </a:p>
        </p:txBody>
      </p:sp>
      <p:pic>
        <p:nvPicPr>
          <p:cNvPr id="9" name="Imagem 8" descr="Texto&#10;&#10;Descrição gerada automaticamente com confiança média">
            <a:extLst>
              <a:ext uri="{FF2B5EF4-FFF2-40B4-BE49-F238E27FC236}">
                <a16:creationId xmlns:a16="http://schemas.microsoft.com/office/drawing/2014/main" id="{3609B88F-E40C-DEFB-E550-238634AACB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383" y="0"/>
            <a:ext cx="8451617" cy="3896728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5" name="Tinta 4">
                <a:extLst>
                  <a:ext uri="{FF2B5EF4-FFF2-40B4-BE49-F238E27FC236}">
                    <a16:creationId xmlns:a16="http://schemas.microsoft.com/office/drawing/2014/main" id="{D2B9634E-69AC-F73D-CEEE-503D8981EF6D}"/>
                  </a:ext>
                </a:extLst>
              </p14:cNvPr>
              <p14:cNvContentPartPr/>
              <p14:nvPr/>
            </p14:nvContentPartPr>
            <p14:xfrm>
              <a:off x="4406177" y="3073783"/>
              <a:ext cx="4775040" cy="91440"/>
            </p14:xfrm>
          </p:contentPart>
        </mc:Choice>
        <mc:Fallback>
          <p:pic>
            <p:nvPicPr>
              <p:cNvPr id="5" name="Tinta 4">
                <a:extLst>
                  <a:ext uri="{FF2B5EF4-FFF2-40B4-BE49-F238E27FC236}">
                    <a16:creationId xmlns:a16="http://schemas.microsoft.com/office/drawing/2014/main" id="{D2B9634E-69AC-F73D-CEEE-503D8981EF6D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352537" y="2966143"/>
                <a:ext cx="4882680" cy="307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840706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0367C13-213F-C96E-31A4-D9AE290D5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06" imgH="411" progId="TCLayout.ActiveDocument.1">
                  <p:embed/>
                </p:oleObj>
              </mc:Choice>
              <mc:Fallback>
                <p:oleObj name="Slide do think-cell" r:id="rId3" imgW="306" imgH="411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0367C13-213F-C96E-31A4-D9AE290D5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6">
            <a:extLst>
              <a:ext uri="{FF2B5EF4-FFF2-40B4-BE49-F238E27FC236}">
                <a16:creationId xmlns:a16="http://schemas.microsoft.com/office/drawing/2014/main" id="{B34F5AD2-EDBD-4BBD-A55C-EAFFD0C70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40383" y="0"/>
            <a:ext cx="8451607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C3896A03-3945-419A-B66B-4EE266EDD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0"/>
            <a:ext cx="3745177" cy="685800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034DF81-34B1-6296-9831-C0371649D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19" y="637762"/>
            <a:ext cx="2758259" cy="5576770"/>
          </a:xfrm>
        </p:spPr>
        <p:txBody>
          <a:bodyPr vert="horz" anchor="t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unicação do Banco Central</a:t>
            </a:r>
            <a:endParaRPr lang="pt-BR" sz="3600" strike="sngStrike" dirty="0">
              <a:solidFill>
                <a:schemeClr val="bg1"/>
              </a:solidFill>
            </a:endParaRPr>
          </a:p>
        </p:txBody>
      </p:sp>
      <p:sp>
        <p:nvSpPr>
          <p:cNvPr id="26" name="Rectangle 30">
            <a:extLst>
              <a:ext uri="{FF2B5EF4-FFF2-40B4-BE49-F238E27FC236}">
                <a16:creationId xmlns:a16="http://schemas.microsoft.com/office/drawing/2014/main" id="{B8EAE243-3A9F-4A46-B0D9-04C723A8A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733" y="643465"/>
            <a:ext cx="457200" cy="45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ço Reservado para Número de Slide 5">
            <a:extLst>
              <a:ext uri="{FF2B5EF4-FFF2-40B4-BE49-F238E27FC236}">
                <a16:creationId xmlns:a16="http://schemas.microsoft.com/office/drawing/2014/main" id="{8B520085-2FFC-0EC3-1CBB-010936414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618620-8F61-4A10-97A7-B6AD64DC074C}" type="slidenum">
              <a:rPr lang="en-US" smtClean="0"/>
              <a:t>9</a:t>
            </a:fld>
            <a:endParaRPr lang="en-US" dirty="0"/>
          </a:p>
        </p:txBody>
      </p:sp>
      <p:pic>
        <p:nvPicPr>
          <p:cNvPr id="10" name="Imagem 9" descr="Interface gráfica do usuário, Texto&#10;&#10;Descrição gerada automaticamente">
            <a:extLst>
              <a:ext uri="{FF2B5EF4-FFF2-40B4-BE49-F238E27FC236}">
                <a16:creationId xmlns:a16="http://schemas.microsoft.com/office/drawing/2014/main" id="{7660F056-FF2D-6B2B-B9A4-8166F2B729E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598"/>
          <a:stretch/>
        </p:blipFill>
        <p:spPr>
          <a:xfrm>
            <a:off x="3740383" y="0"/>
            <a:ext cx="8451607" cy="2002971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E2611C2D-3949-5C38-E861-C41A31553FC5}"/>
              </a:ext>
            </a:extLst>
          </p:cNvPr>
          <p:cNvSpPr txBox="1"/>
          <p:nvPr/>
        </p:nvSpPr>
        <p:spPr>
          <a:xfrm>
            <a:off x="3877491" y="6229392"/>
            <a:ext cx="786166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dirty="0"/>
              <a:t>https://www.economiaemdia.com.br/BradescoEconomiaEmDia/static_files/pdf/pt/publicacoes/destaque_depec/2023_05_17_Destaque.pdf</a:t>
            </a:r>
          </a:p>
        </p:txBody>
      </p:sp>
      <p:pic>
        <p:nvPicPr>
          <p:cNvPr id="14" name="Imagem 13" descr="Gráfico, Gráfico de linhas&#10;&#10;Descrição gerada automaticamente">
            <a:extLst>
              <a:ext uri="{FF2B5EF4-FFF2-40B4-BE49-F238E27FC236}">
                <a16:creationId xmlns:a16="http://schemas.microsoft.com/office/drawing/2014/main" id="{5EAA6A7B-1BAA-010C-ABD9-0121C06D82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933" y="2076987"/>
            <a:ext cx="5591955" cy="3019846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8B3DDF8A-6FAA-1165-28E4-9BBF6E34F395}"/>
              </a:ext>
            </a:extLst>
          </p:cNvPr>
          <p:cNvSpPr txBox="1"/>
          <p:nvPr/>
        </p:nvSpPr>
        <p:spPr>
          <a:xfrm>
            <a:off x="68186" y="3217029"/>
            <a:ext cx="304228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pt-BR" dirty="0">
                <a:solidFill>
                  <a:schemeClr val="bg1"/>
                </a:solidFill>
              </a:rPr>
              <a:t>Texto mais duros com a inflação é classificado como “</a:t>
            </a:r>
            <a:r>
              <a:rPr lang="pt-BR" b="1" dirty="0">
                <a:solidFill>
                  <a:schemeClr val="bg1"/>
                </a:solidFill>
              </a:rPr>
              <a:t>hawkish</a:t>
            </a:r>
            <a:r>
              <a:rPr lang="pt-BR" dirty="0">
                <a:solidFill>
                  <a:schemeClr val="bg1"/>
                </a:solidFill>
              </a:rPr>
              <a:t>”, pois indica que o BC pode subir a Selic à frente</a:t>
            </a:r>
          </a:p>
          <a:p>
            <a:pPr lvl="1"/>
            <a:endParaRPr lang="pt-BR" dirty="0">
              <a:solidFill>
                <a:schemeClr val="bg1"/>
              </a:solidFill>
            </a:endParaRPr>
          </a:p>
          <a:p>
            <a:pPr lvl="1"/>
            <a:r>
              <a:rPr lang="pt-BR" dirty="0">
                <a:solidFill>
                  <a:schemeClr val="bg1"/>
                </a:solidFill>
              </a:rPr>
              <a:t>Texto mais suave com a inflação é classificado como “</a:t>
            </a:r>
            <a:r>
              <a:rPr lang="pt-BR" b="1" dirty="0">
                <a:solidFill>
                  <a:schemeClr val="bg1"/>
                </a:solidFill>
              </a:rPr>
              <a:t>dovish</a:t>
            </a:r>
            <a:r>
              <a:rPr lang="pt-BR" dirty="0">
                <a:solidFill>
                  <a:schemeClr val="bg1"/>
                </a:solidFill>
              </a:rPr>
              <a:t>”, com sinal de que pode reduzir a Selic à frente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D47213E1-9A7A-E4A0-757F-43011E18B118}"/>
              </a:ext>
            </a:extLst>
          </p:cNvPr>
          <p:cNvSpPr txBox="1"/>
          <p:nvPr/>
        </p:nvSpPr>
        <p:spPr>
          <a:xfrm>
            <a:off x="4616652" y="5166576"/>
            <a:ext cx="669906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Esse tipo de indicador é um aliado importante na avaliação dos textos, seja pela </a:t>
            </a:r>
            <a:r>
              <a:rPr lang="pt-BR" b="1" dirty="0"/>
              <a:t>rapidez</a:t>
            </a:r>
            <a:r>
              <a:rPr lang="pt-BR" dirty="0"/>
              <a:t> com que a interpretação pode ser feita, seja pela </a:t>
            </a:r>
            <a:r>
              <a:rPr lang="pt-BR" b="1" dirty="0"/>
              <a:t>diminuição do viés</a:t>
            </a:r>
            <a:r>
              <a:rPr lang="pt-BR" dirty="0"/>
              <a:t> da leitura</a:t>
            </a: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18" name="Tinta 17">
                <a:extLst>
                  <a:ext uri="{FF2B5EF4-FFF2-40B4-BE49-F238E27FC236}">
                    <a16:creationId xmlns:a16="http://schemas.microsoft.com/office/drawing/2014/main" id="{BE9B68AA-7A4D-176C-199B-D7DD59D04B2B}"/>
                  </a:ext>
                </a:extLst>
              </p14:cNvPr>
              <p14:cNvContentPartPr/>
              <p14:nvPr/>
            </p14:nvContentPartPr>
            <p14:xfrm>
              <a:off x="1332497" y="3978823"/>
              <a:ext cx="757080" cy="10080"/>
            </p14:xfrm>
          </p:contentPart>
        </mc:Choice>
        <mc:Fallback>
          <p:pic>
            <p:nvPicPr>
              <p:cNvPr id="18" name="Tinta 17">
                <a:extLst>
                  <a:ext uri="{FF2B5EF4-FFF2-40B4-BE49-F238E27FC236}">
                    <a16:creationId xmlns:a16="http://schemas.microsoft.com/office/drawing/2014/main" id="{BE9B68AA-7A4D-176C-199B-D7DD59D04B2B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278497" y="3871183"/>
                <a:ext cx="864720" cy="225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9" name="Tinta 18">
                <a:extLst>
                  <a:ext uri="{FF2B5EF4-FFF2-40B4-BE49-F238E27FC236}">
                    <a16:creationId xmlns:a16="http://schemas.microsoft.com/office/drawing/2014/main" id="{528BB4DD-4CC9-2CFF-FDED-8A01FFD9309B}"/>
                  </a:ext>
                </a:extLst>
              </p14:cNvPr>
              <p14:cNvContentPartPr/>
              <p14:nvPr/>
            </p14:nvContentPartPr>
            <p14:xfrm>
              <a:off x="1384337" y="5607823"/>
              <a:ext cx="531720" cy="9360"/>
            </p14:xfrm>
          </p:contentPart>
        </mc:Choice>
        <mc:Fallback>
          <p:pic>
            <p:nvPicPr>
              <p:cNvPr id="19" name="Tinta 18">
                <a:extLst>
                  <a:ext uri="{FF2B5EF4-FFF2-40B4-BE49-F238E27FC236}">
                    <a16:creationId xmlns:a16="http://schemas.microsoft.com/office/drawing/2014/main" id="{528BB4DD-4CC9-2CFF-FDED-8A01FFD9309B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330337" y="5500183"/>
                <a:ext cx="639360" cy="225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20" name="Tinta 19">
                <a:extLst>
                  <a:ext uri="{FF2B5EF4-FFF2-40B4-BE49-F238E27FC236}">
                    <a16:creationId xmlns:a16="http://schemas.microsoft.com/office/drawing/2014/main" id="{EC367756-F065-AA18-B428-8E4623F01A26}"/>
                  </a:ext>
                </a:extLst>
              </p14:cNvPr>
              <p14:cNvContentPartPr/>
              <p14:nvPr/>
            </p14:nvContentPartPr>
            <p14:xfrm>
              <a:off x="1340777" y="5607823"/>
              <a:ext cx="137520" cy="9360"/>
            </p14:xfrm>
          </p:contentPart>
        </mc:Choice>
        <mc:Fallback>
          <p:pic>
            <p:nvPicPr>
              <p:cNvPr id="20" name="Tinta 19">
                <a:extLst>
                  <a:ext uri="{FF2B5EF4-FFF2-40B4-BE49-F238E27FC236}">
                    <a16:creationId xmlns:a16="http://schemas.microsoft.com/office/drawing/2014/main" id="{EC367756-F065-AA18-B428-8E4623F01A26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287137" y="5500183"/>
                <a:ext cx="245160" cy="225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00767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836342[[fn=Íon]]</Template>
  <TotalTime>781</TotalTime>
  <Words>914</Words>
  <Application>Microsoft Office PowerPoint</Application>
  <PresentationFormat>Widescreen</PresentationFormat>
  <Paragraphs>124</Paragraphs>
  <Slides>30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0</vt:i4>
      </vt:variant>
    </vt:vector>
  </HeadingPairs>
  <TitlesOfParts>
    <vt:vector size="36" baseType="lpstr">
      <vt:lpstr>Arial</vt:lpstr>
      <vt:lpstr>Calibri</vt:lpstr>
      <vt:lpstr>Calibri Light</vt:lpstr>
      <vt:lpstr>Ubuntu</vt:lpstr>
      <vt:lpstr>Tema do Office</vt:lpstr>
      <vt:lpstr>Slide do think-cell</vt:lpstr>
      <vt:lpstr>Análise de sentimento dos documentos do Banco Central utilizando Natural Language Processing com Deep Learning in Python</vt:lpstr>
      <vt:lpstr>Objetivos</vt:lpstr>
      <vt:lpstr>Importância para a Bloomberg</vt:lpstr>
      <vt:lpstr>Importância para a Bloomberg</vt:lpstr>
      <vt:lpstr>Importância para a Bloomberg</vt:lpstr>
      <vt:lpstr>Comunicação do Banco Central</vt:lpstr>
      <vt:lpstr>Comunicação do Banco Central</vt:lpstr>
      <vt:lpstr>Comunicação do Banco Central</vt:lpstr>
      <vt:lpstr>Comunicação do Banco Central</vt:lpstr>
      <vt:lpstr>Base de dados</vt:lpstr>
      <vt:lpstr>Base de dados</vt:lpstr>
      <vt:lpstr>Labels</vt:lpstr>
      <vt:lpstr>Web-scrape</vt:lpstr>
      <vt:lpstr>Processamento dos dados</vt:lpstr>
      <vt:lpstr>Modelos de classificação</vt:lpstr>
      <vt:lpstr>Word Embedding: Português</vt:lpstr>
      <vt:lpstr>Word Embedding: Inglês</vt:lpstr>
      <vt:lpstr>SVM</vt:lpstr>
      <vt:lpstr>LDA</vt:lpstr>
      <vt:lpstr>LSTM em português com GloVe</vt:lpstr>
      <vt:lpstr>LSTM em inglês com GloVe</vt:lpstr>
      <vt:lpstr>Transformers</vt:lpstr>
      <vt:lpstr>Transformers</vt:lpstr>
      <vt:lpstr>Transformers</vt:lpstr>
      <vt:lpstr>Transformers</vt:lpstr>
      <vt:lpstr>Transformers </vt:lpstr>
      <vt:lpstr>Resultados</vt:lpstr>
      <vt:lpstr>Transformers em inglês usando todas as atas e comunicados</vt:lpstr>
      <vt:lpstr>Desenvolvimentos futuros</vt:lpstr>
      <vt:lpstr>Bibliograf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álise de sentimento de documentos do Banco Central</dc:title>
  <dc:creator>Fernando Travaglini</dc:creator>
  <cp:lastModifiedBy>Fernando Travaglini</cp:lastModifiedBy>
  <cp:revision>18</cp:revision>
  <dcterms:created xsi:type="dcterms:W3CDTF">2023-04-03T21:37:08Z</dcterms:created>
  <dcterms:modified xsi:type="dcterms:W3CDTF">2023-07-05T01:43:55Z</dcterms:modified>
</cp:coreProperties>
</file>